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0182" r:id="rId1"/>
  </p:sldMasterIdLst>
  <p:notesMasterIdLst>
    <p:notesMasterId r:id="rId16"/>
  </p:notesMasterIdLst>
  <p:handoutMasterIdLst>
    <p:handoutMasterId r:id="rId17"/>
  </p:handoutMasterIdLst>
  <p:sldIdLst>
    <p:sldId id="256" r:id="rId2"/>
    <p:sldId id="7551" r:id="rId3"/>
    <p:sldId id="280" r:id="rId4"/>
    <p:sldId id="7552" r:id="rId5"/>
    <p:sldId id="4313" r:id="rId6"/>
    <p:sldId id="7516" r:id="rId7"/>
    <p:sldId id="285" r:id="rId8"/>
    <p:sldId id="260" r:id="rId9"/>
    <p:sldId id="7396" r:id="rId10"/>
    <p:sldId id="283" r:id="rId11"/>
    <p:sldId id="7549" r:id="rId12"/>
    <p:sldId id="263" r:id="rId13"/>
    <p:sldId id="284" r:id="rId14"/>
    <p:sldId id="30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70" userDrawn="1">
          <p15:clr>
            <a:srgbClr val="A4A3A4"/>
          </p15:clr>
        </p15:guide>
        <p15:guide id="2" orient="horz" pos="527" userDrawn="1">
          <p15:clr>
            <a:srgbClr val="A4A3A4"/>
          </p15:clr>
        </p15:guide>
        <p15:guide id="3" orient="horz" pos="3748" userDrawn="1">
          <p15:clr>
            <a:srgbClr val="A4A3A4"/>
          </p15:clr>
        </p15:guide>
        <p15:guide id="4" pos="7287" userDrawn="1">
          <p15:clr>
            <a:srgbClr val="A4A3A4"/>
          </p15:clr>
        </p15:guide>
        <p15:guide id="5" orient="horz" pos="14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0038"/>
    <a:srgbClr val="FFFFFF"/>
    <a:srgbClr val="D60038"/>
    <a:srgbClr val="51C3F1"/>
    <a:srgbClr val="25336F"/>
    <a:srgbClr val="002D72"/>
    <a:srgbClr val="F2F2F2"/>
    <a:srgbClr val="1D4999"/>
    <a:srgbClr val="D90039"/>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71" autoAdjust="0"/>
    <p:restoredTop sz="95211" autoAdjust="0"/>
  </p:normalViewPr>
  <p:slideViewPr>
    <p:cSldViewPr snapToGrid="0" showGuides="1">
      <p:cViewPr varScale="1">
        <p:scale>
          <a:sx n="68" d="100"/>
          <a:sy n="68" d="100"/>
        </p:scale>
        <p:origin x="804" y="72"/>
      </p:cViewPr>
      <p:guideLst>
        <p:guide pos="370"/>
        <p:guide orient="horz" pos="527"/>
        <p:guide orient="horz" pos="3748"/>
        <p:guide pos="7287"/>
        <p:guide orient="horz" pos="14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5976"/>
    </p:cViewPr>
  </p:sorterViewPr>
  <p:notesViewPr>
    <p:cSldViewPr snapToGrid="0" showGuides="1">
      <p:cViewPr varScale="1">
        <p:scale>
          <a:sx n="65" d="100"/>
          <a:sy n="65" d="100"/>
        </p:scale>
        <p:origin x="3154"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_rels/data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svg"/><Relationship Id="rId1" Type="http://schemas.openxmlformats.org/officeDocument/2006/relationships/image" Target="../media/image120.png"/><Relationship Id="rId4" Type="http://schemas.openxmlformats.org/officeDocument/2006/relationships/image" Target="../media/image12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svg"/><Relationship Id="rId1" Type="http://schemas.openxmlformats.org/officeDocument/2006/relationships/image" Target="../media/image120.png"/><Relationship Id="rId4" Type="http://schemas.openxmlformats.org/officeDocument/2006/relationships/image" Target="../media/image123.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83EF18-1100-4CF0-850D-6D23E8741E57}"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9CB0495-6F15-46A2-BFCD-4FB3EA0618F3}">
      <dgm:prSet/>
      <dgm:spPr/>
      <dgm:t>
        <a:bodyPr/>
        <a:lstStyle/>
        <a:p>
          <a:r>
            <a:rPr lang="en-US" dirty="0">
              <a:latin typeface="+mj-lt"/>
              <a:cs typeface="Segoe UI" panose="020B0502040204020203" pitchFamily="34" charset="0"/>
            </a:rPr>
            <a:t>There will be 2 – 3 rounds of interviews for successful candidates.</a:t>
          </a:r>
        </a:p>
      </dgm:t>
    </dgm:pt>
    <dgm:pt modelId="{E6DF8262-2AAB-49E3-A04A-CE7751EDF86A}" type="parTrans" cxnId="{6335E537-BA50-4659-A22E-238F38A01732}">
      <dgm:prSet/>
      <dgm:spPr/>
      <dgm:t>
        <a:bodyPr/>
        <a:lstStyle/>
        <a:p>
          <a:endParaRPr lang="en-US" sz="2400"/>
        </a:p>
      </dgm:t>
    </dgm:pt>
    <dgm:pt modelId="{8349E372-14A5-4C91-87C3-F0E00E0A6B5F}" type="sibTrans" cxnId="{6335E537-BA50-4659-A22E-238F38A01732}">
      <dgm:prSet/>
      <dgm:spPr/>
      <dgm:t>
        <a:bodyPr/>
        <a:lstStyle/>
        <a:p>
          <a:endParaRPr lang="en-US"/>
        </a:p>
      </dgm:t>
    </dgm:pt>
    <dgm:pt modelId="{4E527FD8-CD04-405A-8AAA-1E1C77DD02B7}">
      <dgm:prSet/>
      <dgm:spPr/>
      <dgm:t>
        <a:bodyPr/>
        <a:lstStyle/>
        <a:p>
          <a:r>
            <a:rPr lang="en-US">
              <a:latin typeface="+mj-lt"/>
              <a:cs typeface="Segoe UI" panose="020B0502040204020203" pitchFamily="34" charset="0"/>
            </a:rPr>
            <a:t>You can expect questions on coding, problem solving, business case studies, puzzles and guesstimates.</a:t>
          </a:r>
        </a:p>
      </dgm:t>
    </dgm:pt>
    <dgm:pt modelId="{59092821-D05B-4F88-9FA1-D219B5E09C6E}" type="parTrans" cxnId="{36C96407-6FAD-463A-BE10-04C940DA41BE}">
      <dgm:prSet/>
      <dgm:spPr/>
      <dgm:t>
        <a:bodyPr/>
        <a:lstStyle/>
        <a:p>
          <a:endParaRPr lang="en-US" sz="2400"/>
        </a:p>
      </dgm:t>
    </dgm:pt>
    <dgm:pt modelId="{118FD937-12DB-4B62-864C-DF6CB76EB298}" type="sibTrans" cxnId="{36C96407-6FAD-463A-BE10-04C940DA41BE}">
      <dgm:prSet/>
      <dgm:spPr/>
      <dgm:t>
        <a:bodyPr/>
        <a:lstStyle/>
        <a:p>
          <a:endParaRPr lang="en-US"/>
        </a:p>
      </dgm:t>
    </dgm:pt>
    <dgm:pt modelId="{5E97DC5A-D9A2-4585-B810-6CAC7A0753B3}" type="pres">
      <dgm:prSet presAssocID="{3B83EF18-1100-4CF0-850D-6D23E8741E57}" presName="root" presStyleCnt="0">
        <dgm:presLayoutVars>
          <dgm:dir/>
          <dgm:resizeHandles val="exact"/>
        </dgm:presLayoutVars>
      </dgm:prSet>
      <dgm:spPr/>
    </dgm:pt>
    <dgm:pt modelId="{872E6063-B2A9-4586-9995-3B833249FC89}" type="pres">
      <dgm:prSet presAssocID="{69CB0495-6F15-46A2-BFCD-4FB3EA0618F3}" presName="compNode" presStyleCnt="0"/>
      <dgm:spPr/>
    </dgm:pt>
    <dgm:pt modelId="{D74FE7AC-A8A3-42E9-9D0D-4914BBDA7C66}" type="pres">
      <dgm:prSet presAssocID="{69CB0495-6F15-46A2-BFCD-4FB3EA0618F3}" presName="bgRect" presStyleLbl="bgShp" presStyleIdx="0" presStyleCnt="2" custScaleY="125157" custLinFactNeighborX="-144" custLinFactNeighborY="-5500"/>
      <dgm:spPr/>
    </dgm:pt>
    <dgm:pt modelId="{B0BD4E98-8DBB-4E82-BE19-1425FFC6C600}" type="pres">
      <dgm:prSet presAssocID="{69CB0495-6F15-46A2-BFCD-4FB3EA0618F3}" presName="iconRect" presStyleLbl="node1" presStyleIdx="0" presStyleCnt="2" custScaleX="127072" custScaleY="12707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a:softEdge rad="0"/>
        </a:effectLst>
      </dgm:spPr>
      <dgm:extLst>
        <a:ext uri="{E40237B7-FDA0-4F09-8148-C483321AD2D9}">
          <dgm14:cNvPr xmlns:dgm14="http://schemas.microsoft.com/office/drawing/2010/diagram" id="0" name="" descr="Board Room"/>
        </a:ext>
      </dgm:extLst>
    </dgm:pt>
    <dgm:pt modelId="{24998894-FCD1-4CC6-8BD9-EB01CC6CEE1A}" type="pres">
      <dgm:prSet presAssocID="{69CB0495-6F15-46A2-BFCD-4FB3EA0618F3}" presName="spaceRect" presStyleCnt="0"/>
      <dgm:spPr/>
    </dgm:pt>
    <dgm:pt modelId="{103FB66A-8A97-4F7D-8D1E-4EDE3ACDC2CA}" type="pres">
      <dgm:prSet presAssocID="{69CB0495-6F15-46A2-BFCD-4FB3EA0618F3}" presName="parTx" presStyleLbl="revTx" presStyleIdx="0" presStyleCnt="2">
        <dgm:presLayoutVars>
          <dgm:chMax val="0"/>
          <dgm:chPref val="0"/>
        </dgm:presLayoutVars>
      </dgm:prSet>
      <dgm:spPr/>
    </dgm:pt>
    <dgm:pt modelId="{83B770A1-F703-430D-8057-8566FEF6CAA6}" type="pres">
      <dgm:prSet presAssocID="{8349E372-14A5-4C91-87C3-F0E00E0A6B5F}" presName="sibTrans" presStyleCnt="0"/>
      <dgm:spPr/>
    </dgm:pt>
    <dgm:pt modelId="{BEEAC958-E38F-4851-B2AD-F8CF7333D7A4}" type="pres">
      <dgm:prSet presAssocID="{4E527FD8-CD04-405A-8AAA-1E1C77DD02B7}" presName="compNode" presStyleCnt="0"/>
      <dgm:spPr/>
    </dgm:pt>
    <dgm:pt modelId="{EE4E069B-2862-4868-B5D8-F598D87419A8}" type="pres">
      <dgm:prSet presAssocID="{4E527FD8-CD04-405A-8AAA-1E1C77DD02B7}" presName="bgRect" presStyleLbl="bgShp" presStyleIdx="1" presStyleCnt="2" custScaleY="130265"/>
      <dgm:spPr/>
    </dgm:pt>
    <dgm:pt modelId="{4107219C-6F26-45AF-8ED9-EDF9CC220B09}" type="pres">
      <dgm:prSet presAssocID="{4E527FD8-CD04-405A-8AAA-1E1C77DD02B7}" presName="iconRect" presStyleLbl="node1" presStyleIdx="1" presStyleCnt="2" custScaleX="113696" custScaleY="11369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uzzle"/>
        </a:ext>
      </dgm:extLst>
    </dgm:pt>
    <dgm:pt modelId="{4A4CFC29-2644-433E-9360-399808B64324}" type="pres">
      <dgm:prSet presAssocID="{4E527FD8-CD04-405A-8AAA-1E1C77DD02B7}" presName="spaceRect" presStyleCnt="0"/>
      <dgm:spPr/>
    </dgm:pt>
    <dgm:pt modelId="{094FF7F4-48A9-4A67-98FF-A6A89E816675}" type="pres">
      <dgm:prSet presAssocID="{4E527FD8-CD04-405A-8AAA-1E1C77DD02B7}" presName="parTx" presStyleLbl="revTx" presStyleIdx="1" presStyleCnt="2">
        <dgm:presLayoutVars>
          <dgm:chMax val="0"/>
          <dgm:chPref val="0"/>
        </dgm:presLayoutVars>
      </dgm:prSet>
      <dgm:spPr/>
    </dgm:pt>
  </dgm:ptLst>
  <dgm:cxnLst>
    <dgm:cxn modelId="{36C96407-6FAD-463A-BE10-04C940DA41BE}" srcId="{3B83EF18-1100-4CF0-850D-6D23E8741E57}" destId="{4E527FD8-CD04-405A-8AAA-1E1C77DD02B7}" srcOrd="1" destOrd="0" parTransId="{59092821-D05B-4F88-9FA1-D219B5E09C6E}" sibTransId="{118FD937-12DB-4B62-864C-DF6CB76EB298}"/>
    <dgm:cxn modelId="{6335E537-BA50-4659-A22E-238F38A01732}" srcId="{3B83EF18-1100-4CF0-850D-6D23E8741E57}" destId="{69CB0495-6F15-46A2-BFCD-4FB3EA0618F3}" srcOrd="0" destOrd="0" parTransId="{E6DF8262-2AAB-49E3-A04A-CE7751EDF86A}" sibTransId="{8349E372-14A5-4C91-87C3-F0E00E0A6B5F}"/>
    <dgm:cxn modelId="{5E2C2943-1C7C-4B9F-BA43-119F11D163CC}" type="presOf" srcId="{3B83EF18-1100-4CF0-850D-6D23E8741E57}" destId="{5E97DC5A-D9A2-4585-B810-6CAC7A0753B3}" srcOrd="0" destOrd="0" presId="urn:microsoft.com/office/officeart/2018/2/layout/IconVerticalSolidList"/>
    <dgm:cxn modelId="{8AADA246-5047-4697-A240-40B83C59345A}" type="presOf" srcId="{4E527FD8-CD04-405A-8AAA-1E1C77DD02B7}" destId="{094FF7F4-48A9-4A67-98FF-A6A89E816675}" srcOrd="0" destOrd="0" presId="urn:microsoft.com/office/officeart/2018/2/layout/IconVerticalSolidList"/>
    <dgm:cxn modelId="{953ABA9C-781A-42DB-892C-633D5A9AEF8B}" type="presOf" srcId="{69CB0495-6F15-46A2-BFCD-4FB3EA0618F3}" destId="{103FB66A-8A97-4F7D-8D1E-4EDE3ACDC2CA}" srcOrd="0" destOrd="0" presId="urn:microsoft.com/office/officeart/2018/2/layout/IconVerticalSolidList"/>
    <dgm:cxn modelId="{58B8A75C-B159-4E8C-AAA8-0E799309BF26}" type="presParOf" srcId="{5E97DC5A-D9A2-4585-B810-6CAC7A0753B3}" destId="{872E6063-B2A9-4586-9995-3B833249FC89}" srcOrd="0" destOrd="0" presId="urn:microsoft.com/office/officeart/2018/2/layout/IconVerticalSolidList"/>
    <dgm:cxn modelId="{BBD861C7-2970-453A-A934-E2C03BA49B5C}" type="presParOf" srcId="{872E6063-B2A9-4586-9995-3B833249FC89}" destId="{D74FE7AC-A8A3-42E9-9D0D-4914BBDA7C66}" srcOrd="0" destOrd="0" presId="urn:microsoft.com/office/officeart/2018/2/layout/IconVerticalSolidList"/>
    <dgm:cxn modelId="{17234449-63C0-47A0-9E30-0D6F99B46CD6}" type="presParOf" srcId="{872E6063-B2A9-4586-9995-3B833249FC89}" destId="{B0BD4E98-8DBB-4E82-BE19-1425FFC6C600}" srcOrd="1" destOrd="0" presId="urn:microsoft.com/office/officeart/2018/2/layout/IconVerticalSolidList"/>
    <dgm:cxn modelId="{4C263437-9101-4F82-BA15-2D8AED87C9BB}" type="presParOf" srcId="{872E6063-B2A9-4586-9995-3B833249FC89}" destId="{24998894-FCD1-4CC6-8BD9-EB01CC6CEE1A}" srcOrd="2" destOrd="0" presId="urn:microsoft.com/office/officeart/2018/2/layout/IconVerticalSolidList"/>
    <dgm:cxn modelId="{B5BE036B-E8A7-4A8B-9A0F-7DF167D78D60}" type="presParOf" srcId="{872E6063-B2A9-4586-9995-3B833249FC89}" destId="{103FB66A-8A97-4F7D-8D1E-4EDE3ACDC2CA}" srcOrd="3" destOrd="0" presId="urn:microsoft.com/office/officeart/2018/2/layout/IconVerticalSolidList"/>
    <dgm:cxn modelId="{13E60C79-EF35-4225-B8FB-15B2443D7E29}" type="presParOf" srcId="{5E97DC5A-D9A2-4585-B810-6CAC7A0753B3}" destId="{83B770A1-F703-430D-8057-8566FEF6CAA6}" srcOrd="1" destOrd="0" presId="urn:microsoft.com/office/officeart/2018/2/layout/IconVerticalSolidList"/>
    <dgm:cxn modelId="{3C21F7C6-3C4C-491A-98B8-E7D571F282FF}" type="presParOf" srcId="{5E97DC5A-D9A2-4585-B810-6CAC7A0753B3}" destId="{BEEAC958-E38F-4851-B2AD-F8CF7333D7A4}" srcOrd="2" destOrd="0" presId="urn:microsoft.com/office/officeart/2018/2/layout/IconVerticalSolidList"/>
    <dgm:cxn modelId="{D3074C4E-C68D-473E-A45C-61BF55E34D90}" type="presParOf" srcId="{BEEAC958-E38F-4851-B2AD-F8CF7333D7A4}" destId="{EE4E069B-2862-4868-B5D8-F598D87419A8}" srcOrd="0" destOrd="0" presId="urn:microsoft.com/office/officeart/2018/2/layout/IconVerticalSolidList"/>
    <dgm:cxn modelId="{20776A70-B95A-490A-957E-FF57C3210CF2}" type="presParOf" srcId="{BEEAC958-E38F-4851-B2AD-F8CF7333D7A4}" destId="{4107219C-6F26-45AF-8ED9-EDF9CC220B09}" srcOrd="1" destOrd="0" presId="urn:microsoft.com/office/officeart/2018/2/layout/IconVerticalSolidList"/>
    <dgm:cxn modelId="{46634B7D-FE00-4DF9-9BA5-38F6EBE8EA08}" type="presParOf" srcId="{BEEAC958-E38F-4851-B2AD-F8CF7333D7A4}" destId="{4A4CFC29-2644-433E-9360-399808B64324}" srcOrd="2" destOrd="0" presId="urn:microsoft.com/office/officeart/2018/2/layout/IconVerticalSolidList"/>
    <dgm:cxn modelId="{BD2CB4DC-356C-4A55-8CDC-38E8E6D0F5FF}" type="presParOf" srcId="{BEEAC958-E38F-4851-B2AD-F8CF7333D7A4}" destId="{094FF7F4-48A9-4A67-98FF-A6A89E81667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4FE7AC-A8A3-42E9-9D0D-4914BBDA7C66}">
      <dsp:nvSpPr>
        <dsp:cNvPr id="0" name=""/>
        <dsp:cNvSpPr/>
      </dsp:nvSpPr>
      <dsp:spPr>
        <a:xfrm>
          <a:off x="0" y="299304"/>
          <a:ext cx="10998199" cy="178758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BD4E98-8DBB-4E82-BE19-1425FFC6C600}">
      <dsp:nvSpPr>
        <dsp:cNvPr id="0" name=""/>
        <dsp:cNvSpPr/>
      </dsp:nvSpPr>
      <dsp:spPr>
        <a:xfrm>
          <a:off x="325720" y="772544"/>
          <a:ext cx="998214" cy="9982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a:softEdge rad="0"/>
        </a:effectLst>
      </dsp:spPr>
      <dsp:style>
        <a:lnRef idx="2">
          <a:scrgbClr r="0" g="0" b="0"/>
        </a:lnRef>
        <a:fillRef idx="1">
          <a:scrgbClr r="0" g="0" b="0"/>
        </a:fillRef>
        <a:effectRef idx="0">
          <a:scrgbClr r="0" g="0" b="0"/>
        </a:effectRef>
        <a:fontRef idx="minor">
          <a:schemeClr val="lt1"/>
        </a:fontRef>
      </dsp:style>
    </dsp:sp>
    <dsp:sp modelId="{103FB66A-8A97-4F7D-8D1E-4EDE3ACDC2CA}">
      <dsp:nvSpPr>
        <dsp:cNvPr id="0" name=""/>
        <dsp:cNvSpPr/>
      </dsp:nvSpPr>
      <dsp:spPr>
        <a:xfrm>
          <a:off x="1649656" y="557514"/>
          <a:ext cx="9348543" cy="1428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159" tIns="151159" rIns="151159" bIns="151159"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cs typeface="Segoe UI" panose="020B0502040204020203" pitchFamily="34" charset="0"/>
            </a:rPr>
            <a:t>There will be 2 – 3 rounds of interviews for successful candidates.</a:t>
          </a:r>
        </a:p>
      </dsp:txBody>
      <dsp:txXfrm>
        <a:off x="1649656" y="557514"/>
        <a:ext cx="9348543" cy="1428273"/>
      </dsp:txXfrm>
    </dsp:sp>
    <dsp:sp modelId="{EE4E069B-2862-4868-B5D8-F598D87419A8}">
      <dsp:nvSpPr>
        <dsp:cNvPr id="0" name=""/>
        <dsp:cNvSpPr/>
      </dsp:nvSpPr>
      <dsp:spPr>
        <a:xfrm>
          <a:off x="0" y="2522512"/>
          <a:ext cx="10998199" cy="18605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107219C-6F26-45AF-8ED9-EDF9CC220B09}">
      <dsp:nvSpPr>
        <dsp:cNvPr id="0" name=""/>
        <dsp:cNvSpPr/>
      </dsp:nvSpPr>
      <dsp:spPr>
        <a:xfrm>
          <a:off x="378258" y="3006213"/>
          <a:ext cx="893139" cy="89313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94FF7F4-48A9-4A67-98FF-A6A89E816675}">
      <dsp:nvSpPr>
        <dsp:cNvPr id="0" name=""/>
        <dsp:cNvSpPr/>
      </dsp:nvSpPr>
      <dsp:spPr>
        <a:xfrm>
          <a:off x="1649656" y="2738646"/>
          <a:ext cx="9348543" cy="1428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159" tIns="151159" rIns="151159" bIns="151159" numCol="1" spcCol="1270" anchor="ctr" anchorCtr="0">
          <a:noAutofit/>
        </a:bodyPr>
        <a:lstStyle/>
        <a:p>
          <a:pPr marL="0" lvl="0" indent="0" algn="l" defTabSz="1111250">
            <a:lnSpc>
              <a:spcPct val="90000"/>
            </a:lnSpc>
            <a:spcBef>
              <a:spcPct val="0"/>
            </a:spcBef>
            <a:spcAft>
              <a:spcPct val="35000"/>
            </a:spcAft>
            <a:buNone/>
          </a:pPr>
          <a:r>
            <a:rPr lang="en-US" sz="2500" kern="1200">
              <a:latin typeface="+mj-lt"/>
              <a:cs typeface="Segoe UI" panose="020B0502040204020203" pitchFamily="34" charset="0"/>
            </a:rPr>
            <a:t>You can expect questions on coding, problem solving, business case studies, puzzles and guesstimates.</a:t>
          </a:r>
        </a:p>
      </dsp:txBody>
      <dsp:txXfrm>
        <a:off x="1649656" y="2738646"/>
        <a:ext cx="9348543" cy="142827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03DB45-666C-477B-8281-FF63D29A945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5C18C597-D0E1-4FA3-A486-0BFC4964353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41A3CC-27FF-4E1F-92F4-FE378ED63DF5}" type="datetimeFigureOut">
              <a:rPr lang="en-IN" smtClean="0"/>
              <a:t>02-06-2021</a:t>
            </a:fld>
            <a:endParaRPr lang="en-IN"/>
          </a:p>
        </p:txBody>
      </p:sp>
      <p:sp>
        <p:nvSpPr>
          <p:cNvPr id="4" name="Footer Placeholder 3">
            <a:extLst>
              <a:ext uri="{FF2B5EF4-FFF2-40B4-BE49-F238E27FC236}">
                <a16:creationId xmlns:a16="http://schemas.microsoft.com/office/drawing/2014/main" id="{63FB05AB-53B3-43BF-BB07-91AFF43391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07B58AB8-9F1C-4218-B59D-ED831816AC6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32E3D34-5BA8-47C8-A231-DF69BF3FF60E}" type="slidenum">
              <a:rPr lang="en-IN" smtClean="0"/>
              <a:t>‹#›</a:t>
            </a:fld>
            <a:endParaRPr lang="en-IN"/>
          </a:p>
        </p:txBody>
      </p:sp>
    </p:spTree>
    <p:extLst>
      <p:ext uri="{BB962C8B-B14F-4D97-AF65-F5344CB8AC3E}">
        <p14:creationId xmlns:p14="http://schemas.microsoft.com/office/powerpoint/2010/main" val="32343411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549B90-EC79-4826-A190-BCC67C7B88D9}" type="datetimeFigureOut">
              <a:rPr lang="en-US" smtClean="0"/>
              <a:t>6/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38DAEC-C807-4E41-A1AD-1CE9C7BB414E}" type="slidenum">
              <a:rPr lang="en-US" smtClean="0"/>
              <a:t>‹#›</a:t>
            </a:fld>
            <a:endParaRPr lang="en-US"/>
          </a:p>
        </p:txBody>
      </p:sp>
    </p:spTree>
    <p:extLst>
      <p:ext uri="{BB962C8B-B14F-4D97-AF65-F5344CB8AC3E}">
        <p14:creationId xmlns:p14="http://schemas.microsoft.com/office/powerpoint/2010/main" val="189872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38DAEC-C807-4E41-A1AD-1CE9C7BB414E}" type="slidenum">
              <a:rPr lang="en-US" smtClean="0"/>
              <a:t>1</a:t>
            </a:fld>
            <a:endParaRPr lang="en-US"/>
          </a:p>
        </p:txBody>
      </p:sp>
    </p:spTree>
    <p:extLst>
      <p:ext uri="{BB962C8B-B14F-4D97-AF65-F5344CB8AC3E}">
        <p14:creationId xmlns:p14="http://schemas.microsoft.com/office/powerpoint/2010/main" val="47836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p11:notes"/>
          <p:cNvSpPr txBox="1">
            <a:spLocks noGrp="1"/>
          </p:cNvSpPr>
          <p:nvPr>
            <p:ph type="body" idx="1"/>
          </p:nvPr>
        </p:nvSpPr>
        <p:spPr>
          <a:xfrm>
            <a:off x="1219200" y="3300413"/>
            <a:ext cx="9753600" cy="270033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Arial"/>
              <a:ea typeface="Arial"/>
              <a:cs typeface="Arial"/>
              <a:sym typeface="Arial"/>
            </a:endParaRPr>
          </a:p>
        </p:txBody>
      </p:sp>
      <p:sp>
        <p:nvSpPr>
          <p:cNvPr id="124" name="Google Shape;124;p11: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73762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Arial" panose="020B0604020202020204" pitchFamily="34" charset="0"/>
              <a:cs typeface="Arial" panose="020B0604020202020204" pitchFamily="34" charset="0"/>
            </a:endParaRPr>
          </a:p>
        </p:txBody>
      </p:sp>
      <p:sp>
        <p:nvSpPr>
          <p:cNvPr id="485" name="Google Shape;485;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p3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Arial" panose="020B0604020202020204" pitchFamily="34" charset="0"/>
              <a:cs typeface="Arial" panose="020B0604020202020204" pitchFamily="34" charset="0"/>
            </a:endParaRPr>
          </a:p>
        </p:txBody>
      </p:sp>
      <p:sp>
        <p:nvSpPr>
          <p:cNvPr id="742" name="Google Shape;742;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5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Arial" panose="020B0604020202020204" pitchFamily="34" charset="0"/>
              <a:cs typeface="Arial" panose="020B0604020202020204" pitchFamily="34" charset="0"/>
            </a:endParaRPr>
          </a:p>
        </p:txBody>
      </p:sp>
      <p:sp>
        <p:nvSpPr>
          <p:cNvPr id="947" name="Google Shape;947;p5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1_Cover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31822AD-9642-47E8-A92E-BDEC6DBA4794}"/>
              </a:ext>
            </a:extLst>
          </p:cNvPr>
          <p:cNvPicPr>
            <a:picLocks noChangeAspect="1"/>
          </p:cNvPicPr>
          <p:nvPr/>
        </p:nvPicPr>
        <p:blipFill rotWithShape="1">
          <a:blip r:embed="rId2">
            <a:extLst>
              <a:ext uri="{28A0092B-C50C-407E-A947-70E740481C1C}">
                <a14:useLocalDpi xmlns:a14="http://schemas.microsoft.com/office/drawing/2010/main" val="0"/>
              </a:ext>
            </a:extLst>
          </a:blip>
          <a:srcRect l="9134" r="2910"/>
          <a:stretch/>
        </p:blipFill>
        <p:spPr>
          <a:xfrm>
            <a:off x="-14288" y="0"/>
            <a:ext cx="12192001" cy="6858000"/>
          </a:xfrm>
          <a:prstGeom prst="rect">
            <a:avLst/>
          </a:prstGeom>
        </p:spPr>
      </p:pic>
      <p:sp>
        <p:nvSpPr>
          <p:cNvPr id="19" name="Rectangle 18">
            <a:extLst>
              <a:ext uri="{FF2B5EF4-FFF2-40B4-BE49-F238E27FC236}">
                <a16:creationId xmlns:a16="http://schemas.microsoft.com/office/drawing/2014/main" id="{16D69DAA-50B0-490B-B879-A9AFA26B8029}"/>
              </a:ext>
            </a:extLst>
          </p:cNvPr>
          <p:cNvSpPr/>
          <p:nvPr/>
        </p:nvSpPr>
        <p:spPr>
          <a:xfrm flipH="1">
            <a:off x="0" y="0"/>
            <a:ext cx="12192001" cy="6858000"/>
          </a:xfrm>
          <a:prstGeom prst="rect">
            <a:avLst/>
          </a:prstGeom>
          <a:solidFill>
            <a:srgbClr val="51C3F1">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5" name="Rectangle 4">
            <a:extLst>
              <a:ext uri="{FF2B5EF4-FFF2-40B4-BE49-F238E27FC236}">
                <a16:creationId xmlns:a16="http://schemas.microsoft.com/office/drawing/2014/main" id="{BA100332-FD9E-43B4-A5EA-D655F50E55C6}"/>
              </a:ext>
            </a:extLst>
          </p:cNvPr>
          <p:cNvSpPr/>
          <p:nvPr/>
        </p:nvSpPr>
        <p:spPr>
          <a:xfrm>
            <a:off x="-1" y="4037932"/>
            <a:ext cx="9105417" cy="2455333"/>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7" name="Rectangle 6">
            <a:extLst>
              <a:ext uri="{FF2B5EF4-FFF2-40B4-BE49-F238E27FC236}">
                <a16:creationId xmlns:a16="http://schemas.microsoft.com/office/drawing/2014/main" id="{4862DC76-2326-4337-A09D-F6B09741B5C5}"/>
              </a:ext>
            </a:extLst>
          </p:cNvPr>
          <p:cNvSpPr/>
          <p:nvPr/>
        </p:nvSpPr>
        <p:spPr>
          <a:xfrm>
            <a:off x="0" y="4037932"/>
            <a:ext cx="9105416" cy="118533"/>
          </a:xfrm>
          <a:prstGeom prst="rect">
            <a:avLst/>
          </a:prstGeom>
          <a:solidFill>
            <a:srgbClr val="51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8" name="Rectangle 7">
            <a:extLst>
              <a:ext uri="{FF2B5EF4-FFF2-40B4-BE49-F238E27FC236}">
                <a16:creationId xmlns:a16="http://schemas.microsoft.com/office/drawing/2014/main" id="{D44349FB-3EFD-45E8-9741-7BB218BE08AE}"/>
              </a:ext>
            </a:extLst>
          </p:cNvPr>
          <p:cNvSpPr/>
          <p:nvPr/>
        </p:nvSpPr>
        <p:spPr>
          <a:xfrm>
            <a:off x="11836361" y="0"/>
            <a:ext cx="355639" cy="6858000"/>
          </a:xfrm>
          <a:prstGeom prst="rect">
            <a:avLst/>
          </a:prstGeom>
          <a:solidFill>
            <a:srgbClr val="D70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9" name="Rectangle 8">
            <a:extLst>
              <a:ext uri="{FF2B5EF4-FFF2-40B4-BE49-F238E27FC236}">
                <a16:creationId xmlns:a16="http://schemas.microsoft.com/office/drawing/2014/main" id="{B2E0560B-C8EC-45DE-AE89-65A343A6FE8A}"/>
              </a:ext>
            </a:extLst>
          </p:cNvPr>
          <p:cNvSpPr/>
          <p:nvPr/>
        </p:nvSpPr>
        <p:spPr>
          <a:xfrm>
            <a:off x="11484609" y="0"/>
            <a:ext cx="355639" cy="6858000"/>
          </a:xfrm>
          <a:prstGeom prst="rect">
            <a:avLst/>
          </a:prstGeom>
          <a:solidFill>
            <a:srgbClr val="D7003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10" name="Rectangle 9">
            <a:extLst>
              <a:ext uri="{FF2B5EF4-FFF2-40B4-BE49-F238E27FC236}">
                <a16:creationId xmlns:a16="http://schemas.microsoft.com/office/drawing/2014/main" id="{C673730A-509F-4C18-8764-173CF6818E38}"/>
              </a:ext>
            </a:extLst>
          </p:cNvPr>
          <p:cNvSpPr/>
          <p:nvPr/>
        </p:nvSpPr>
        <p:spPr>
          <a:xfrm>
            <a:off x="11136403" y="0"/>
            <a:ext cx="355639" cy="6858000"/>
          </a:xfrm>
          <a:prstGeom prst="rect">
            <a:avLst/>
          </a:prstGeom>
          <a:solidFill>
            <a:srgbClr val="D7003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294469" y="0"/>
            <a:ext cx="2401721" cy="949124"/>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488041" y="4464464"/>
            <a:ext cx="6816328" cy="454763"/>
          </a:xfrm>
        </p:spPr>
        <p:txBody>
          <a:bodyPr>
            <a:noAutofit/>
          </a:bodyPr>
          <a:lstStyle>
            <a:lvl1pPr marL="0" indent="0">
              <a:buNone/>
              <a:defRPr sz="3200" b="1">
                <a:solidFill>
                  <a:srgbClr val="10253F"/>
                </a:solidFill>
              </a:defRPr>
            </a:lvl1pPr>
          </a:lstStyle>
          <a:p>
            <a:pPr lvl="0"/>
            <a:r>
              <a:rPr lang="en-US" dirty="0"/>
              <a:t>TITLE OF THE SLIDE - LINE ONE</a:t>
            </a:r>
            <a:endParaRPr lang="en-IN" dirty="0"/>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488041" y="5005853"/>
            <a:ext cx="6816328" cy="454763"/>
          </a:xfrm>
        </p:spPr>
        <p:txBody>
          <a:bodyPr>
            <a:noAutofit/>
          </a:bodyPr>
          <a:lstStyle>
            <a:lvl1pPr marL="0" indent="0">
              <a:buNone/>
              <a:defRPr sz="3200" b="1">
                <a:solidFill>
                  <a:schemeClr val="accent3"/>
                </a:solidFill>
              </a:defRPr>
            </a:lvl1pPr>
          </a:lstStyle>
          <a:p>
            <a:pPr lvl="0"/>
            <a:r>
              <a:rPr lang="en-US" dirty="0"/>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488041" y="5823917"/>
            <a:ext cx="6816328" cy="454763"/>
          </a:xfrm>
        </p:spPr>
        <p:txBody>
          <a:bodyPr>
            <a:noAutofit/>
          </a:bodyPr>
          <a:lstStyle>
            <a:lvl1pPr marL="0" indent="0">
              <a:buNone/>
              <a:defRPr sz="2133" b="1">
                <a:solidFill>
                  <a:srgbClr val="595959"/>
                </a:solidFill>
              </a:defRPr>
            </a:lvl1pPr>
          </a:lstStyle>
          <a:p>
            <a:pPr lvl="0"/>
            <a:r>
              <a:rPr lang="en-US" dirty="0"/>
              <a:t>Month ‘21</a:t>
            </a:r>
          </a:p>
        </p:txBody>
      </p:sp>
      <p:pic>
        <p:nvPicPr>
          <p:cNvPr id="4" name="Picture 3">
            <a:extLst>
              <a:ext uri="{FF2B5EF4-FFF2-40B4-BE49-F238E27FC236}">
                <a16:creationId xmlns:a16="http://schemas.microsoft.com/office/drawing/2014/main" id="{461C7122-7A87-4B47-B38C-F6AE86ABE767}"/>
              </a:ext>
            </a:extLst>
          </p:cNvPr>
          <p:cNvPicPr>
            <a:picLocks noChangeAspect="1"/>
          </p:cNvPicPr>
          <p:nvPr/>
        </p:nvPicPr>
        <p:blipFill>
          <a:blip r:embed="rId3"/>
          <a:stretch>
            <a:fillRect/>
          </a:stretch>
        </p:blipFill>
        <p:spPr>
          <a:xfrm>
            <a:off x="9166436" y="207013"/>
            <a:ext cx="2655638" cy="509982"/>
          </a:xfrm>
          <a:prstGeom prst="rect">
            <a:avLst/>
          </a:prstGeom>
        </p:spPr>
      </p:pic>
    </p:spTree>
    <p:extLst>
      <p:ext uri="{BB962C8B-B14F-4D97-AF65-F5344CB8AC3E}">
        <p14:creationId xmlns:p14="http://schemas.microsoft.com/office/powerpoint/2010/main" val="155550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NU">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512B905-9262-43A6-AD3A-748465856E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513081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_Utterly Blank">
  <p:cSld name="2_Utterly Blank">
    <p:spTree>
      <p:nvGrpSpPr>
        <p:cNvPr id="1" name="Shape 105"/>
        <p:cNvGrpSpPr/>
        <p:nvPr/>
      </p:nvGrpSpPr>
      <p:grpSpPr>
        <a:xfrm>
          <a:off x="0" y="0"/>
          <a:ext cx="0" cy="0"/>
          <a:chOff x="0" y="0"/>
          <a:chExt cx="0" cy="0"/>
        </a:xfrm>
      </p:grpSpPr>
      <p:sp>
        <p:nvSpPr>
          <p:cNvPr id="106" name="Google Shape;106;gcc20f37f6e_6_16"/>
          <p:cNvSpPr txBox="1">
            <a:spLocks noGrp="1"/>
          </p:cNvSpPr>
          <p:nvPr>
            <p:ph type="sldNum" idx="12"/>
          </p:nvPr>
        </p:nvSpPr>
        <p:spPr>
          <a:xfrm>
            <a:off x="10660200" y="6352439"/>
            <a:ext cx="947600" cy="223229"/>
          </a:xfrm>
          <a:prstGeom prst="rect">
            <a:avLst/>
          </a:prstGeom>
          <a:noFill/>
          <a:ln>
            <a:noFill/>
          </a:ln>
        </p:spPr>
        <p:txBody>
          <a:bodyPr spcFirstLastPara="1" wrap="square" lIns="91425" tIns="45700" rIns="0" bIns="45700" anchor="ctr" anchorCtr="0">
            <a:noAutofit/>
          </a:bodyPr>
          <a:lstStyle>
            <a:lvl1pPr marL="0" marR="0" lvl="0" indent="0" algn="r">
              <a:spcBef>
                <a:spcPts val="0"/>
              </a:spcBef>
              <a:buNone/>
              <a:defRPr sz="1100" b="1">
                <a:solidFill>
                  <a:schemeClr val="dk1"/>
                </a:solidFill>
                <a:latin typeface="Arial" panose="020B0604020202020204" pitchFamily="34" charset="0"/>
                <a:ea typeface="Arial" panose="020B0604020202020204" pitchFamily="34" charset="0"/>
                <a:cs typeface="Arial" panose="020B0604020202020204" pitchFamily="34" charset="0"/>
                <a:sym typeface="Helvetica Neue"/>
              </a:defRPr>
            </a:lvl1pPr>
            <a:lvl2pPr marL="0" marR="0" lvl="1" indent="0" algn="r">
              <a:spcBef>
                <a:spcPts val="0"/>
              </a:spcBef>
              <a:buNone/>
              <a:defRPr sz="1100" b="1">
                <a:solidFill>
                  <a:schemeClr val="dk1"/>
                </a:solidFill>
                <a:latin typeface="Helvetica Neue"/>
                <a:ea typeface="Helvetica Neue"/>
                <a:cs typeface="Helvetica Neue"/>
                <a:sym typeface="Helvetica Neue"/>
              </a:defRPr>
            </a:lvl2pPr>
            <a:lvl3pPr marL="0" marR="0" lvl="2" indent="0" algn="r">
              <a:spcBef>
                <a:spcPts val="0"/>
              </a:spcBef>
              <a:buNone/>
              <a:defRPr sz="1100" b="1">
                <a:solidFill>
                  <a:schemeClr val="dk1"/>
                </a:solidFill>
                <a:latin typeface="Helvetica Neue"/>
                <a:ea typeface="Helvetica Neue"/>
                <a:cs typeface="Helvetica Neue"/>
                <a:sym typeface="Helvetica Neue"/>
              </a:defRPr>
            </a:lvl3pPr>
            <a:lvl4pPr marL="0" marR="0" lvl="3" indent="0" algn="r">
              <a:spcBef>
                <a:spcPts val="0"/>
              </a:spcBef>
              <a:buNone/>
              <a:defRPr sz="1100" b="1">
                <a:solidFill>
                  <a:schemeClr val="dk1"/>
                </a:solidFill>
                <a:latin typeface="Helvetica Neue"/>
                <a:ea typeface="Helvetica Neue"/>
                <a:cs typeface="Helvetica Neue"/>
                <a:sym typeface="Helvetica Neue"/>
              </a:defRPr>
            </a:lvl4pPr>
            <a:lvl5pPr marL="0" marR="0" lvl="4" indent="0" algn="r">
              <a:spcBef>
                <a:spcPts val="0"/>
              </a:spcBef>
              <a:buNone/>
              <a:defRPr sz="1100" b="1">
                <a:solidFill>
                  <a:schemeClr val="dk1"/>
                </a:solidFill>
                <a:latin typeface="Helvetica Neue"/>
                <a:ea typeface="Helvetica Neue"/>
                <a:cs typeface="Helvetica Neue"/>
                <a:sym typeface="Helvetica Neue"/>
              </a:defRPr>
            </a:lvl5pPr>
            <a:lvl6pPr marL="0" marR="0" lvl="5" indent="0" algn="r">
              <a:spcBef>
                <a:spcPts val="0"/>
              </a:spcBef>
              <a:buNone/>
              <a:defRPr sz="1100" b="1">
                <a:solidFill>
                  <a:schemeClr val="dk1"/>
                </a:solidFill>
                <a:latin typeface="Helvetica Neue"/>
                <a:ea typeface="Helvetica Neue"/>
                <a:cs typeface="Helvetica Neue"/>
                <a:sym typeface="Helvetica Neue"/>
              </a:defRPr>
            </a:lvl6pPr>
            <a:lvl7pPr marL="0" marR="0" lvl="6" indent="0" algn="r">
              <a:spcBef>
                <a:spcPts val="0"/>
              </a:spcBef>
              <a:buNone/>
              <a:defRPr sz="1100" b="1">
                <a:solidFill>
                  <a:schemeClr val="dk1"/>
                </a:solidFill>
                <a:latin typeface="Helvetica Neue"/>
                <a:ea typeface="Helvetica Neue"/>
                <a:cs typeface="Helvetica Neue"/>
                <a:sym typeface="Helvetica Neue"/>
              </a:defRPr>
            </a:lvl7pPr>
            <a:lvl8pPr marL="0" marR="0" lvl="7" indent="0" algn="r">
              <a:spcBef>
                <a:spcPts val="0"/>
              </a:spcBef>
              <a:buNone/>
              <a:defRPr sz="1100" b="1">
                <a:solidFill>
                  <a:schemeClr val="dk1"/>
                </a:solidFill>
                <a:latin typeface="Helvetica Neue"/>
                <a:ea typeface="Helvetica Neue"/>
                <a:cs typeface="Helvetica Neue"/>
                <a:sym typeface="Helvetica Neue"/>
              </a:defRPr>
            </a:lvl8pPr>
            <a:lvl9pPr marL="0" marR="0" lvl="8" indent="0" algn="r">
              <a:spcBef>
                <a:spcPts val="0"/>
              </a:spcBef>
              <a:buNone/>
              <a:defRPr sz="1100" b="1">
                <a:solidFill>
                  <a:schemeClr val="dk1"/>
                </a:solidFill>
                <a:latin typeface="Helvetica Neue"/>
                <a:ea typeface="Helvetica Neue"/>
                <a:cs typeface="Helvetica Neue"/>
                <a:sym typeface="Helvetica Neue"/>
              </a:defRPr>
            </a:lvl9pPr>
          </a:lstStyle>
          <a:p>
            <a:fld id="{00000000-1234-1234-1234-123412341234}" type="slidenum">
              <a:rPr lang="en-US" smtClean="0"/>
              <a:pPr/>
              <a:t>‹#›</a:t>
            </a:fld>
            <a:endParaRPr lang="en-US" dirty="0"/>
          </a:p>
        </p:txBody>
      </p:sp>
      <p:pic>
        <p:nvPicPr>
          <p:cNvPr id="107" name="Google Shape;107;gcc20f37f6e_6_16"/>
          <p:cNvPicPr preferRelativeResize="0"/>
          <p:nvPr/>
        </p:nvPicPr>
        <p:blipFill rotWithShape="1">
          <a:blip r:embed="rId2">
            <a:alphaModFix/>
          </a:blip>
          <a:srcRect l="-1" r="-1"/>
          <a:stretch/>
        </p:blipFill>
        <p:spPr>
          <a:xfrm>
            <a:off x="-1" y="0"/>
            <a:ext cx="12192002" cy="6858000"/>
          </a:xfrm>
          <a:prstGeom prst="rect">
            <a:avLst/>
          </a:prstGeom>
          <a:noFill/>
          <a:ln>
            <a:noFill/>
          </a:ln>
        </p:spPr>
      </p:pic>
      <p:sp>
        <p:nvSpPr>
          <p:cNvPr id="108" name="Google Shape;108;gcc20f37f6e_6_16"/>
          <p:cNvSpPr txBox="1"/>
          <p:nvPr/>
        </p:nvSpPr>
        <p:spPr>
          <a:xfrm>
            <a:off x="10660200" y="6352439"/>
            <a:ext cx="947600" cy="223229"/>
          </a:xfrm>
          <a:prstGeom prst="rect">
            <a:avLst/>
          </a:prstGeom>
          <a:noFill/>
          <a:ln>
            <a:noFill/>
          </a:ln>
        </p:spPr>
        <p:txBody>
          <a:bodyPr spcFirstLastPara="1" wrap="square" lIns="91425" tIns="45700" rIns="0" bIns="45700" anchor="ctr" anchorCtr="0">
            <a:noAutofit/>
          </a:bodyPr>
          <a:lstStyle/>
          <a:p>
            <a:pPr marL="0" marR="0" lvl="0" indent="0" algn="r" rtl="0">
              <a:spcBef>
                <a:spcPts val="0"/>
              </a:spcBef>
              <a:spcAft>
                <a:spcPts val="0"/>
              </a:spcAft>
              <a:buNone/>
            </a:pPr>
            <a:fld id="{00000000-1234-1234-1234-123412341234}" type="slidenum">
              <a:rPr lang="en-US" sz="1100" b="1">
                <a:solidFill>
                  <a:schemeClr val="dk1"/>
                </a:solidFill>
                <a:latin typeface="Arial" panose="020B0604020202020204" pitchFamily="34" charset="0"/>
                <a:ea typeface="Helvetica Neue"/>
                <a:cs typeface="Arial" panose="020B0604020202020204" pitchFamily="34" charset="0"/>
                <a:sym typeface="Helvetica Neue"/>
              </a:rPr>
              <a:t>‹#›</a:t>
            </a:fld>
            <a:endParaRPr sz="1100" b="1" dirty="0">
              <a:solidFill>
                <a:schemeClr val="dk1"/>
              </a:solidFill>
              <a:latin typeface="Arial" panose="020B0604020202020204" pitchFamily="34" charset="0"/>
              <a:ea typeface="Helvetica Neue"/>
              <a:cs typeface="Arial" panose="020B0604020202020204" pitchFamily="34" charset="0"/>
              <a:sym typeface="Helvetica Neue"/>
            </a:endParaRPr>
          </a:p>
        </p:txBody>
      </p:sp>
      <p:sp>
        <p:nvSpPr>
          <p:cNvPr id="109" name="Google Shape;109;gcc20f37f6e_6_16"/>
          <p:cNvSpPr/>
          <p:nvPr/>
        </p:nvSpPr>
        <p:spPr>
          <a:xfrm>
            <a:off x="0" y="2664459"/>
            <a:ext cx="12192000" cy="3774340"/>
          </a:xfrm>
          <a:prstGeom prst="rect">
            <a:avLst/>
          </a:prstGeom>
          <a:solidFill>
            <a:srgbClr val="D70038">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pitchFamily="34" charset="0"/>
              <a:ea typeface="Arial"/>
              <a:cs typeface="Arial" panose="020B0604020202020204" pitchFamily="34" charset="0"/>
              <a:sym typeface="Arial"/>
            </a:endParaRPr>
          </a:p>
        </p:txBody>
      </p:sp>
      <p:sp>
        <p:nvSpPr>
          <p:cNvPr id="110" name="Google Shape;110;gcc20f37f6e_6_16"/>
          <p:cNvSpPr txBox="1"/>
          <p:nvPr/>
        </p:nvSpPr>
        <p:spPr>
          <a:xfrm>
            <a:off x="6585995" y="3973003"/>
            <a:ext cx="5116632" cy="161582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1100" b="1">
                <a:solidFill>
                  <a:schemeClr val="lt1"/>
                </a:solidFill>
                <a:latin typeface="Arial" panose="020B0604020202020204" pitchFamily="34" charset="0"/>
                <a:ea typeface="Arial"/>
                <a:cs typeface="Arial" panose="020B0604020202020204" pitchFamily="34" charset="0"/>
                <a:sym typeface="Arial"/>
              </a:rPr>
              <a:t>Disclaimer:</a:t>
            </a:r>
            <a:r>
              <a:rPr lang="en-US" sz="1100">
                <a:solidFill>
                  <a:schemeClr val="lt1"/>
                </a:solidFill>
                <a:latin typeface="Arial" panose="020B0604020202020204" pitchFamily="34" charset="0"/>
                <a:ea typeface="Arial"/>
                <a:cs typeface="Arial" panose="020B0604020202020204" pitchFamily="34" charset="0"/>
                <a:sym typeface="Arial"/>
              </a:rPr>
              <a:t> This document is for informational purposes only and is subject to change without notice. This document and its content herein are believed to be accurate as of its date of publication. However, Think Analytics makes no guarantee, representations or warranties with regard to the enclosed information and specifically disclaims the implied warranties of fitness for a particular purpose and merchantability. </a:t>
            </a:r>
            <a:endParaRPr>
              <a:latin typeface="Arial" panose="020B0604020202020204" pitchFamily="34" charset="0"/>
              <a:cs typeface="Arial" panose="020B0604020202020204" pitchFamily="34" charset="0"/>
            </a:endParaRPr>
          </a:p>
          <a:p>
            <a:pPr marL="0" marR="0" lvl="0" indent="0" algn="just" rtl="0">
              <a:spcBef>
                <a:spcPts val="0"/>
              </a:spcBef>
              <a:spcAft>
                <a:spcPts val="0"/>
              </a:spcAft>
              <a:buNone/>
            </a:pPr>
            <a:endParaRPr sz="1100">
              <a:solidFill>
                <a:schemeClr val="lt1"/>
              </a:solidFill>
              <a:latin typeface="Arial" panose="020B0604020202020204" pitchFamily="34" charset="0"/>
              <a:ea typeface="Arial"/>
              <a:cs typeface="Arial" panose="020B0604020202020204" pitchFamily="34" charset="0"/>
              <a:sym typeface="Arial"/>
            </a:endParaRPr>
          </a:p>
          <a:p>
            <a:pPr marL="0" marR="0" lvl="0" indent="0" algn="just" rtl="0">
              <a:spcBef>
                <a:spcPts val="0"/>
              </a:spcBef>
              <a:spcAft>
                <a:spcPts val="0"/>
              </a:spcAft>
              <a:buNone/>
            </a:pPr>
            <a:endParaRPr sz="1100">
              <a:solidFill>
                <a:schemeClr val="lt1"/>
              </a:solidFill>
              <a:latin typeface="Arial" panose="020B0604020202020204" pitchFamily="34" charset="0"/>
              <a:ea typeface="Arial"/>
              <a:cs typeface="Arial" panose="020B0604020202020204" pitchFamily="34" charset="0"/>
              <a:sym typeface="Arial"/>
            </a:endParaRPr>
          </a:p>
          <a:p>
            <a:pPr marL="0" marR="0" lvl="0" indent="0" algn="just" rtl="0">
              <a:spcBef>
                <a:spcPts val="0"/>
              </a:spcBef>
              <a:spcAft>
                <a:spcPts val="0"/>
              </a:spcAft>
              <a:buNone/>
            </a:pPr>
            <a:r>
              <a:rPr lang="en-US" sz="1100">
                <a:solidFill>
                  <a:schemeClr val="lt1"/>
                </a:solidFill>
                <a:latin typeface="Arial" panose="020B0604020202020204" pitchFamily="34" charset="0"/>
                <a:ea typeface="Arial"/>
                <a:cs typeface="Arial" panose="020B0604020202020204" pitchFamily="34" charset="0"/>
                <a:sym typeface="Arial"/>
              </a:rPr>
              <a:t>All other trademarks acknowledged. </a:t>
            </a:r>
            <a:endParaRPr sz="1100">
              <a:solidFill>
                <a:schemeClr val="lt1"/>
              </a:solidFill>
              <a:latin typeface="Arial" panose="020B0604020202020204" pitchFamily="34" charset="0"/>
              <a:ea typeface="Arial"/>
              <a:cs typeface="Arial" panose="020B0604020202020204" pitchFamily="34" charset="0"/>
              <a:sym typeface="Arial"/>
            </a:endParaRPr>
          </a:p>
        </p:txBody>
      </p:sp>
      <p:pic>
        <p:nvPicPr>
          <p:cNvPr id="111" name="Google Shape;111;gcc20f37f6e_6_16"/>
          <p:cNvPicPr preferRelativeResize="0"/>
          <p:nvPr/>
        </p:nvPicPr>
        <p:blipFill rotWithShape="1">
          <a:blip r:embed="rId3">
            <a:alphaModFix/>
          </a:blip>
          <a:srcRect/>
          <a:stretch/>
        </p:blipFill>
        <p:spPr>
          <a:xfrm>
            <a:off x="8379676" y="2983166"/>
            <a:ext cx="3546818" cy="681122"/>
          </a:xfrm>
          <a:prstGeom prst="rect">
            <a:avLst/>
          </a:prstGeom>
          <a:noFill/>
          <a:ln>
            <a:noFill/>
          </a:ln>
        </p:spPr>
      </p:pic>
      <p:sp>
        <p:nvSpPr>
          <p:cNvPr id="112" name="Google Shape;112;gcc20f37f6e_6_16"/>
          <p:cNvSpPr txBox="1">
            <a:spLocks noGrp="1"/>
          </p:cNvSpPr>
          <p:nvPr>
            <p:ph type="body" idx="1"/>
          </p:nvPr>
        </p:nvSpPr>
        <p:spPr>
          <a:xfrm>
            <a:off x="606872" y="3368435"/>
            <a:ext cx="4886325" cy="914400"/>
          </a:xfrm>
          <a:prstGeom prst="rect">
            <a:avLst/>
          </a:prstGeom>
          <a:noFill/>
          <a:ln>
            <a:noFill/>
          </a:ln>
        </p:spPr>
        <p:txBody>
          <a:bodyPr spcFirstLastPara="1" wrap="square" lIns="0" tIns="45700" rIns="91425" bIns="45700" anchor="t" anchorCtr="0">
            <a:noAutofit/>
          </a:bodyPr>
          <a:lstStyle>
            <a:lvl1pPr marL="457200" marR="0" lvl="0" indent="-228600" algn="l" rtl="0">
              <a:spcBef>
                <a:spcPts val="1200"/>
              </a:spcBef>
              <a:spcAft>
                <a:spcPts val="0"/>
              </a:spcAft>
              <a:buClr>
                <a:schemeClr val="accent1"/>
              </a:buClr>
              <a:buSzPts val="6000"/>
              <a:buFont typeface="Arial"/>
              <a:buNone/>
              <a:defRPr sz="6000" b="1" i="0" u="none" strike="noStrike" cap="none">
                <a:solidFill>
                  <a:schemeClr val="accent1"/>
                </a:solidFill>
                <a:latin typeface="Arial" panose="020B0604020202020204" pitchFamily="34" charset="0"/>
                <a:ea typeface="Arial" panose="020B0604020202020204" pitchFamily="34" charset="0"/>
                <a:cs typeface="Arial" panose="020B0604020202020204" pitchFamily="34" charset="0"/>
                <a:sym typeface="Arial"/>
              </a:defRPr>
            </a:lvl1pPr>
            <a:lvl2pPr marL="914400" marR="0" lvl="1" indent="-342900" algn="l" rtl="0">
              <a:spcBef>
                <a:spcPts val="360"/>
              </a:spcBef>
              <a:spcAft>
                <a:spcPts val="0"/>
              </a:spcAft>
              <a:buClr>
                <a:srgbClr val="FFFFFF"/>
              </a:buClr>
              <a:buSzPts val="1800"/>
              <a:buFont typeface="Arial"/>
              <a:buChar char="–"/>
              <a:defRPr sz="1800" b="0" i="0" u="none" strike="noStrike" cap="none">
                <a:solidFill>
                  <a:srgbClr val="FFFFFF"/>
                </a:solidFill>
                <a:latin typeface="Arial"/>
                <a:ea typeface="Arial"/>
                <a:cs typeface="Arial"/>
                <a:sym typeface="Arial"/>
              </a:defRPr>
            </a:lvl2pPr>
            <a:lvl3pPr marL="1371600" marR="0" lvl="2" indent="-330200" algn="l" rtl="0">
              <a:spcBef>
                <a:spcPts val="320"/>
              </a:spcBef>
              <a:spcAft>
                <a:spcPts val="0"/>
              </a:spcAft>
              <a:buClr>
                <a:srgbClr val="FFFFFF"/>
              </a:buClr>
              <a:buSzPts val="1600"/>
              <a:buFont typeface="Arial"/>
              <a:buChar char="•"/>
              <a:defRPr sz="1600" b="0" i="0" u="none" strike="noStrike" cap="none">
                <a:solidFill>
                  <a:srgbClr val="FFFFFF"/>
                </a:solidFill>
                <a:latin typeface="Arial"/>
                <a:ea typeface="Arial"/>
                <a:cs typeface="Arial"/>
                <a:sym typeface="Arial"/>
              </a:defRPr>
            </a:lvl3pPr>
            <a:lvl4pPr marL="1828800" marR="0" lvl="3" indent="-330200" algn="l" rtl="0">
              <a:spcBef>
                <a:spcPts val="320"/>
              </a:spcBef>
              <a:spcAft>
                <a:spcPts val="0"/>
              </a:spcAft>
              <a:buClr>
                <a:srgbClr val="FFFFFF"/>
              </a:buClr>
              <a:buSzPts val="1600"/>
              <a:buFont typeface="Arial"/>
              <a:buChar char="–"/>
              <a:defRPr sz="1600" b="0" i="0" u="none" strike="noStrike" cap="none">
                <a:solidFill>
                  <a:srgbClr val="FFFFFF"/>
                </a:solidFill>
                <a:latin typeface="Arial"/>
                <a:ea typeface="Arial"/>
                <a:cs typeface="Arial"/>
                <a:sym typeface="Arial"/>
              </a:defRPr>
            </a:lvl4pPr>
            <a:lvl5pPr marL="2286000" marR="0" lvl="4" indent="-330200" algn="l" rtl="0">
              <a:spcBef>
                <a:spcPts val="320"/>
              </a:spcBef>
              <a:spcAft>
                <a:spcPts val="0"/>
              </a:spcAft>
              <a:buClr>
                <a:srgbClr val="FFFFFF"/>
              </a:buClr>
              <a:buSzPts val="1600"/>
              <a:buFont typeface="Arial"/>
              <a:buChar char="»"/>
              <a:defRPr sz="1600" b="0" i="0" u="none" strike="noStrike" cap="none">
                <a:solidFill>
                  <a:srgbClr val="FFFFFF"/>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13" name="Google Shape;113;gcc20f37f6e_6_16"/>
          <p:cNvSpPr txBox="1">
            <a:spLocks noGrp="1"/>
          </p:cNvSpPr>
          <p:nvPr>
            <p:ph type="body" idx="2"/>
          </p:nvPr>
        </p:nvSpPr>
        <p:spPr>
          <a:xfrm>
            <a:off x="606872" y="4733685"/>
            <a:ext cx="4625976" cy="49688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560"/>
              </a:spcBef>
              <a:spcAft>
                <a:spcPts val="0"/>
              </a:spcAft>
              <a:buClr>
                <a:srgbClr val="FFFFFF"/>
              </a:buClr>
              <a:buSzPts val="2800"/>
              <a:buFont typeface="Arial"/>
              <a:buNone/>
              <a:defRPr sz="2800" b="1" i="0" u="none" strike="noStrike" cap="none">
                <a:solidFill>
                  <a:srgbClr val="FFFFFF"/>
                </a:solidFill>
                <a:latin typeface="Arial" panose="020B0604020202020204" pitchFamily="34" charset="0"/>
                <a:ea typeface="Arial" panose="020B0604020202020204" pitchFamily="34" charset="0"/>
                <a:cs typeface="Arial" panose="020B0604020202020204" pitchFamily="34" charset="0"/>
                <a:sym typeface="Arial"/>
              </a:defRPr>
            </a:lvl1pPr>
            <a:lvl2pPr marL="914400" marR="0" lvl="1" indent="-342900" algn="l" rtl="0">
              <a:spcBef>
                <a:spcPts val="360"/>
              </a:spcBef>
              <a:spcAft>
                <a:spcPts val="0"/>
              </a:spcAft>
              <a:buClr>
                <a:srgbClr val="FFFFFF"/>
              </a:buClr>
              <a:buSzPts val="1800"/>
              <a:buFont typeface="Arial"/>
              <a:buChar char="–"/>
              <a:defRPr sz="1800" b="0" i="0" u="none" strike="noStrike" cap="none">
                <a:solidFill>
                  <a:srgbClr val="FFFFFF"/>
                </a:solidFill>
                <a:latin typeface="Arial"/>
                <a:ea typeface="Arial"/>
                <a:cs typeface="Arial"/>
                <a:sym typeface="Arial"/>
              </a:defRPr>
            </a:lvl2pPr>
            <a:lvl3pPr marL="1371600" marR="0" lvl="2" indent="-330200" algn="l" rtl="0">
              <a:spcBef>
                <a:spcPts val="320"/>
              </a:spcBef>
              <a:spcAft>
                <a:spcPts val="0"/>
              </a:spcAft>
              <a:buClr>
                <a:srgbClr val="FFFFFF"/>
              </a:buClr>
              <a:buSzPts val="1600"/>
              <a:buFont typeface="Arial"/>
              <a:buChar char="•"/>
              <a:defRPr sz="1600" b="0" i="0" u="none" strike="noStrike" cap="none">
                <a:solidFill>
                  <a:srgbClr val="FFFFFF"/>
                </a:solidFill>
                <a:latin typeface="Arial"/>
                <a:ea typeface="Arial"/>
                <a:cs typeface="Arial"/>
                <a:sym typeface="Arial"/>
              </a:defRPr>
            </a:lvl3pPr>
            <a:lvl4pPr marL="1828800" marR="0" lvl="3" indent="-330200" algn="l" rtl="0">
              <a:spcBef>
                <a:spcPts val="320"/>
              </a:spcBef>
              <a:spcAft>
                <a:spcPts val="0"/>
              </a:spcAft>
              <a:buClr>
                <a:srgbClr val="FFFFFF"/>
              </a:buClr>
              <a:buSzPts val="1600"/>
              <a:buFont typeface="Arial"/>
              <a:buChar char="–"/>
              <a:defRPr sz="1600" b="0" i="0" u="none" strike="noStrike" cap="none">
                <a:solidFill>
                  <a:srgbClr val="FFFFFF"/>
                </a:solidFill>
                <a:latin typeface="Arial"/>
                <a:ea typeface="Arial"/>
                <a:cs typeface="Arial"/>
                <a:sym typeface="Arial"/>
              </a:defRPr>
            </a:lvl4pPr>
            <a:lvl5pPr marL="2286000" marR="0" lvl="4" indent="-330200" algn="l" rtl="0">
              <a:spcBef>
                <a:spcPts val="320"/>
              </a:spcBef>
              <a:spcAft>
                <a:spcPts val="0"/>
              </a:spcAft>
              <a:buClr>
                <a:srgbClr val="FFFFFF"/>
              </a:buClr>
              <a:buSzPts val="1600"/>
              <a:buFont typeface="Arial"/>
              <a:buChar char="»"/>
              <a:defRPr sz="1600" b="0" i="0" u="none" strike="noStrike" cap="none">
                <a:solidFill>
                  <a:srgbClr val="FFFFFF"/>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94393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tandard 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p:custDataLst>
              <p:tags r:id="rId1"/>
            </p:custDataLst>
            <p:extLst>
              <p:ext uri="{D42A27DB-BD31-4B8C-83A1-F6EECF244321}">
                <p14:modId xmlns:p14="http://schemas.microsoft.com/office/powerpoint/2010/main" val="89693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dirty="0">
              <a:solidFill>
                <a:srgbClr val="333333"/>
              </a:solidFill>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solidFill>
                  <a:schemeClr val="accent2"/>
                </a:solidFill>
              </a:defRPr>
            </a:lvl1pPr>
          </a:lstStyle>
          <a:p>
            <a:r>
              <a:rPr lang="en-US"/>
              <a:t>Click to edit Master title style</a:t>
            </a:r>
            <a:endParaRPr lang="en-US" dirty="0"/>
          </a:p>
        </p:txBody>
      </p:sp>
      <p:sp>
        <p:nvSpPr>
          <p:cNvPr id="3" name="Content Placeholder 2"/>
          <p:cNvSpPr>
            <a:spLocks noGrp="1"/>
          </p:cNvSpPr>
          <p:nvPr>
            <p:ph sz="quarter" idx="13"/>
          </p:nvPr>
        </p:nvSpPr>
        <p:spPr>
          <a:xfrm>
            <a:off x="609600" y="1209358"/>
            <a:ext cx="10998200" cy="4760910"/>
          </a:xfrm>
          <a:prstGeom prst="rect">
            <a:avLst/>
          </a:prstGeom>
        </p:spPr>
        <p:txBody>
          <a:bodyPr lIns="0"/>
          <a:lstStyle>
            <a:lvl1pPr marL="172800" indent="-171450">
              <a:spcBef>
                <a:spcPts val="0"/>
              </a:spcBef>
              <a:spcAft>
                <a:spcPts val="600"/>
              </a:spcAft>
              <a:buClr>
                <a:srgbClr val="51C3F1"/>
              </a:buClr>
              <a:buSzPct val="125000"/>
              <a:buFont typeface="Wingdings" panose="05000000000000000000" pitchFamily="2" charset="2"/>
              <a:buChar char="§"/>
              <a:defRPr sz="1400">
                <a:solidFill>
                  <a:schemeClr val="tx1"/>
                </a:solidFill>
              </a:defRPr>
            </a:lvl1pPr>
            <a:lvl2pPr marL="347472" indent="-173736">
              <a:spcBef>
                <a:spcPts val="0"/>
              </a:spcBef>
              <a:spcAft>
                <a:spcPts val="600"/>
              </a:spcAft>
              <a:buClr>
                <a:srgbClr val="51C3F1"/>
              </a:buClr>
              <a:defRPr sz="1400">
                <a:solidFill>
                  <a:schemeClr val="tx1"/>
                </a:solidFill>
              </a:defRPr>
            </a:lvl2pPr>
            <a:lvl3pPr marL="521208" indent="-171450">
              <a:spcBef>
                <a:spcPts val="0"/>
              </a:spcBef>
              <a:spcAft>
                <a:spcPts val="600"/>
              </a:spcAft>
              <a:buClr>
                <a:srgbClr val="51C3F1"/>
              </a:buClr>
              <a:buFont typeface="Arial" panose="020B0604020202020204" pitchFamily="34" charset="0"/>
              <a:buChar char="•"/>
              <a:defRPr sz="1400">
                <a:solidFill>
                  <a:schemeClr val="tx1"/>
                </a:solidFill>
              </a:defRPr>
            </a:lvl3pPr>
            <a:lvl4pPr marL="685800" indent="-173736">
              <a:spcBef>
                <a:spcPts val="1200"/>
              </a:spcBef>
              <a:buClr>
                <a:srgbClr val="51C3F1"/>
              </a:buClr>
              <a:defRPr sz="1600">
                <a:solidFill>
                  <a:schemeClr val="tx2"/>
                </a:solidFill>
              </a:defRPr>
            </a:lvl4pPr>
            <a:lvl5pPr marL="914400" indent="-173736">
              <a:spcBef>
                <a:spcPts val="1200"/>
              </a:spcBef>
              <a:buClr>
                <a:srgbClr val="51C3F1"/>
              </a:buCl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b="0">
                <a:solidFill>
                  <a:schemeClr val="accent6"/>
                </a:solidFill>
              </a:defRPr>
            </a:lvl1pPr>
          </a:lstStyle>
          <a:p>
            <a:pPr defTabSz="457200"/>
            <a:fld id="{33B05D85-7E10-5D4F-A75C-A55D283254FB}" type="slidenum">
              <a:rPr lang="en-US" smtClean="0"/>
              <a:pPr defTabSz="457200"/>
              <a:t>‹#›</a:t>
            </a:fld>
            <a:endParaRPr lang="en-US" dirty="0"/>
          </a:p>
        </p:txBody>
      </p:sp>
    </p:spTree>
    <p:extLst>
      <p:ext uri="{BB962C8B-B14F-4D97-AF65-F5344CB8AC3E}">
        <p14:creationId xmlns:p14="http://schemas.microsoft.com/office/powerpoint/2010/main" val="278066385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Kick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p:custDataLst>
              <p:tags r:id="rId1"/>
            </p:custDataLst>
            <p:extLst>
              <p:ext uri="{D42A27DB-BD31-4B8C-83A1-F6EECF244321}">
                <p14:modId xmlns:p14="http://schemas.microsoft.com/office/powerpoint/2010/main" val="208643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dirty="0">
              <a:solidFill>
                <a:srgbClr val="333333"/>
              </a:solidFill>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solidFill>
                  <a:schemeClr val="accent2"/>
                </a:solidFill>
                <a:latin typeface="+mj-lt"/>
              </a:defRPr>
            </a:lvl1pPr>
          </a:lstStyle>
          <a:p>
            <a:r>
              <a:rPr lang="en-US"/>
              <a:t>Click to edit Master title style</a:t>
            </a:r>
            <a:endParaRPr lang="en-US" dirty="0"/>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b="0">
                <a:solidFill>
                  <a:schemeClr val="accent6"/>
                </a:solidFill>
              </a:defRPr>
            </a:lvl1pPr>
          </a:lstStyle>
          <a:p>
            <a:pPr defTabSz="457200"/>
            <a:fld id="{33B05D85-7E10-5D4F-A75C-A55D283254FB}" type="slidenum">
              <a:rPr lang="en-US" smtClean="0"/>
              <a:pPr defTabSz="457200"/>
              <a:t>‹#›</a:t>
            </a:fld>
            <a:endParaRPr lang="en-US" dirty="0"/>
          </a:p>
        </p:txBody>
      </p:sp>
      <p:sp>
        <p:nvSpPr>
          <p:cNvPr id="7" name="Content Placeholder 2">
            <a:extLst>
              <a:ext uri="{FF2B5EF4-FFF2-40B4-BE49-F238E27FC236}">
                <a16:creationId xmlns:a16="http://schemas.microsoft.com/office/drawing/2014/main" id="{FCA37B84-D49C-4ABC-A7BA-F89175953043}"/>
              </a:ext>
            </a:extLst>
          </p:cNvPr>
          <p:cNvSpPr>
            <a:spLocks noGrp="1"/>
          </p:cNvSpPr>
          <p:nvPr>
            <p:ph sz="quarter" idx="14"/>
          </p:nvPr>
        </p:nvSpPr>
        <p:spPr>
          <a:xfrm>
            <a:off x="609600" y="896288"/>
            <a:ext cx="10998200" cy="441939"/>
          </a:xfrm>
          <a:prstGeom prst="rect">
            <a:avLst/>
          </a:prstGeom>
        </p:spPr>
        <p:txBody>
          <a:bodyPr lIns="0"/>
          <a:lstStyle>
            <a:lvl1pPr marL="0" indent="0">
              <a:spcBef>
                <a:spcPts val="1200"/>
              </a:spcBef>
              <a:buNone/>
              <a:defRPr sz="1400">
                <a:solidFill>
                  <a:schemeClr val="tx2"/>
                </a:solidFill>
              </a:defRPr>
            </a:lvl1pPr>
            <a:lvl2pPr marL="342900" indent="-171450">
              <a:spcBef>
                <a:spcPts val="1200"/>
              </a:spcBef>
              <a:defRPr sz="1600">
                <a:solidFill>
                  <a:schemeClr val="accent6"/>
                </a:solidFill>
              </a:defRPr>
            </a:lvl2pPr>
            <a:lvl3pPr marL="521208" indent="-171450">
              <a:spcBef>
                <a:spcPts val="1200"/>
              </a:spcBef>
              <a:buFont typeface="Courier New" panose="02070309020205020404" pitchFamily="49" charset="0"/>
              <a:buChar char="o"/>
              <a:defRPr sz="1600">
                <a:solidFill>
                  <a:schemeClr val="accent6"/>
                </a:solidFill>
              </a:defRPr>
            </a:lvl3pPr>
            <a:lvl4pPr marL="685800" indent="-173736">
              <a:spcBef>
                <a:spcPts val="1200"/>
              </a:spcBef>
              <a:defRPr sz="1600">
                <a:solidFill>
                  <a:schemeClr val="accent6"/>
                </a:solidFill>
              </a:defRPr>
            </a:lvl4pPr>
            <a:lvl5pPr marL="914400" indent="-173736">
              <a:spcBef>
                <a:spcPts val="1200"/>
              </a:spcBef>
              <a:defRPr sz="1600">
                <a:solidFill>
                  <a:schemeClr val="accent6"/>
                </a:solidFill>
              </a:defRPr>
            </a:lvl5pPr>
          </a:lstStyle>
          <a:p>
            <a:pPr lvl="0"/>
            <a:r>
              <a:rPr lang="en-US"/>
              <a:t>Click to edit Master text styles</a:t>
            </a:r>
          </a:p>
        </p:txBody>
      </p:sp>
    </p:spTree>
    <p:extLst>
      <p:ext uri="{BB962C8B-B14F-4D97-AF65-F5344CB8AC3E}">
        <p14:creationId xmlns:p14="http://schemas.microsoft.com/office/powerpoint/2010/main" val="319023582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p:custDataLst>
              <p:tags r:id="rId1"/>
            </p:custDataLst>
            <p:extLst>
              <p:ext uri="{D42A27DB-BD31-4B8C-83A1-F6EECF244321}">
                <p14:modId xmlns:p14="http://schemas.microsoft.com/office/powerpoint/2010/main" val="183393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dirty="0">
              <a:solidFill>
                <a:srgbClr val="333333"/>
              </a:solidFill>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solidFill>
                  <a:schemeClr val="accent2"/>
                </a:solidFill>
                <a:latin typeface="+mj-lt"/>
              </a:defRPr>
            </a:lvl1pPr>
          </a:lstStyle>
          <a:p>
            <a:r>
              <a:rPr lang="en-US"/>
              <a:t>Click to edit Master title style</a:t>
            </a:r>
            <a:endParaRPr lang="en-US" dirty="0"/>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b="0">
                <a:solidFill>
                  <a:schemeClr val="accent6"/>
                </a:solidFill>
              </a:defRPr>
            </a:lvl1pPr>
          </a:lstStyle>
          <a:p>
            <a:pPr defTabSz="457200"/>
            <a:fld id="{33B05D85-7E10-5D4F-A75C-A55D283254FB}" type="slidenum">
              <a:rPr lang="en-US" smtClean="0"/>
              <a:pPr defTabSz="457200"/>
              <a:t>‹#›</a:t>
            </a:fld>
            <a:endParaRPr lang="en-US" dirty="0"/>
          </a:p>
        </p:txBody>
      </p:sp>
    </p:spTree>
    <p:extLst>
      <p:ext uri="{BB962C8B-B14F-4D97-AF65-F5344CB8AC3E}">
        <p14:creationId xmlns:p14="http://schemas.microsoft.com/office/powerpoint/2010/main" val="254866482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Utterly Blank">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CBE7BF80-AE7C-43BC-BA1D-EBB40A42EAC2}"/>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b="0">
                <a:solidFill>
                  <a:schemeClr val="accent6"/>
                </a:solidFill>
              </a:defRPr>
            </a:lvl1pPr>
          </a:lstStyle>
          <a:p>
            <a:pPr defTabSz="457200"/>
            <a:fld id="{33B05D85-7E10-5D4F-A75C-A55D283254FB}" type="slidenum">
              <a:rPr lang="en-US" smtClean="0"/>
              <a:pPr defTabSz="457200"/>
              <a:t>‹#›</a:t>
            </a:fld>
            <a:endParaRPr lang="en-US" dirty="0"/>
          </a:p>
        </p:txBody>
      </p:sp>
    </p:spTree>
    <p:extLst>
      <p:ext uri="{BB962C8B-B14F-4D97-AF65-F5344CB8AC3E}">
        <p14:creationId xmlns:p14="http://schemas.microsoft.com/office/powerpoint/2010/main" val="2214877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Utterly Blank">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CBE7BF80-AE7C-43BC-BA1D-EBB40A42EAC2}"/>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tx1"/>
                </a:solidFill>
              </a:defRPr>
            </a:lvl1pPr>
          </a:lstStyle>
          <a:p>
            <a:pPr defTabSz="457200"/>
            <a:fld id="{33B05D85-7E10-5D4F-A75C-A55D283254FB}" type="slidenum">
              <a:rPr lang="en-US" smtClean="0"/>
              <a:pPr defTabSz="457200"/>
              <a:t>‹#›</a:t>
            </a:fld>
            <a:endParaRPr lang="en-US" dirty="0"/>
          </a:p>
        </p:txBody>
      </p:sp>
      <p:pic>
        <p:nvPicPr>
          <p:cNvPr id="3" name="Picture 2">
            <a:extLst>
              <a:ext uri="{FF2B5EF4-FFF2-40B4-BE49-F238E27FC236}">
                <a16:creationId xmlns:a16="http://schemas.microsoft.com/office/drawing/2014/main" id="{C0B7CD12-9417-4595-A6F0-334EB9CCECC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 t="3221" r="-1" b="12497"/>
          <a:stretch/>
        </p:blipFill>
        <p:spPr>
          <a:xfrm>
            <a:off x="-1" y="0"/>
            <a:ext cx="12192002" cy="6858000"/>
          </a:xfrm>
          <a:prstGeom prst="rect">
            <a:avLst/>
          </a:prstGeom>
        </p:spPr>
      </p:pic>
      <p:sp>
        <p:nvSpPr>
          <p:cNvPr id="4" name="Slide Number Placeholder 1">
            <a:extLst>
              <a:ext uri="{FF2B5EF4-FFF2-40B4-BE49-F238E27FC236}">
                <a16:creationId xmlns:a16="http://schemas.microsoft.com/office/drawing/2014/main" id="{03424125-3C91-440C-ADF3-32F9146CEE02}"/>
              </a:ext>
            </a:extLst>
          </p:cNvPr>
          <p:cNvSpPr txBox="1">
            <a:spLocks/>
          </p:cNvSpPr>
          <p:nvPr/>
        </p:nvSpPr>
        <p:spPr>
          <a:xfrm>
            <a:off x="10660200" y="6352439"/>
            <a:ext cx="947600" cy="223229"/>
          </a:xfrm>
          <a:prstGeom prst="rect">
            <a:avLst/>
          </a:prstGeom>
        </p:spPr>
        <p:txBody>
          <a:bodyPr rIns="0" anchor="ctr">
            <a:noAutofit/>
          </a:bodyPr>
          <a:lstStyle>
            <a:defPPr>
              <a:defRPr lang="en-US"/>
            </a:defPPr>
            <a:lvl1pPr marL="0" algn="r" defTabSz="914400" rtl="0" eaLnBrk="1" latinLnBrk="0" hangingPunct="1">
              <a:defRPr sz="1100" b="1" kern="1200">
                <a:solidFill>
                  <a:schemeClr val="tx1"/>
                </a:solidFill>
                <a:latin typeface="Helvetica Neue"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33B05D85-7E10-5D4F-A75C-A55D283254FB}" type="slidenum">
              <a:rPr lang="en-US" smtClean="0"/>
              <a:pPr defTabSz="457200"/>
              <a:t>‹#›</a:t>
            </a:fld>
            <a:endParaRPr lang="en-US" dirty="0"/>
          </a:p>
        </p:txBody>
      </p:sp>
      <p:sp>
        <p:nvSpPr>
          <p:cNvPr id="6" name="Rectangle 5">
            <a:extLst>
              <a:ext uri="{FF2B5EF4-FFF2-40B4-BE49-F238E27FC236}">
                <a16:creationId xmlns:a16="http://schemas.microsoft.com/office/drawing/2014/main" id="{8690F82B-8CB3-4ADB-8A17-3BEE35687E55}"/>
              </a:ext>
            </a:extLst>
          </p:cNvPr>
          <p:cNvSpPr/>
          <p:nvPr/>
        </p:nvSpPr>
        <p:spPr>
          <a:xfrm>
            <a:off x="0" y="2664459"/>
            <a:ext cx="12192000" cy="3774340"/>
          </a:xfrm>
          <a:prstGeom prst="rect">
            <a:avLst/>
          </a:prstGeom>
          <a:solidFill>
            <a:srgbClr val="D700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1594A35-FD36-4FDE-B79E-4B3CE2D2AD9F}"/>
              </a:ext>
            </a:extLst>
          </p:cNvPr>
          <p:cNvSpPr txBox="1"/>
          <p:nvPr/>
        </p:nvSpPr>
        <p:spPr>
          <a:xfrm>
            <a:off x="6585995" y="3973003"/>
            <a:ext cx="5116632" cy="1615827"/>
          </a:xfrm>
          <a:prstGeom prst="rect">
            <a:avLst/>
          </a:prstGeom>
          <a:noFill/>
        </p:spPr>
        <p:txBody>
          <a:bodyPr wrap="square" rtlCol="0">
            <a:spAutoFit/>
          </a:bodyPr>
          <a:lstStyle/>
          <a:p>
            <a:pPr algn="just"/>
            <a:r>
              <a:rPr lang="en-IN" sz="1100" b="1" dirty="0">
                <a:solidFill>
                  <a:schemeClr val="bg1"/>
                </a:solidFill>
                <a:latin typeface="+mj-lt"/>
                <a:cs typeface="Arial" panose="020B0604020202020204" pitchFamily="34" charset="0"/>
              </a:rPr>
              <a:t>Disclaimer:</a:t>
            </a:r>
            <a:r>
              <a:rPr lang="en-IN" sz="1100" dirty="0">
                <a:solidFill>
                  <a:schemeClr val="bg1"/>
                </a:solidFill>
                <a:latin typeface="+mj-lt"/>
                <a:cs typeface="Arial" panose="020B0604020202020204" pitchFamily="34" charset="0"/>
              </a:rPr>
              <a:t> This document is for informational purposes only and is subject to change without notice. This document and its content herein are believed to be accurate as of its date of publication. However, Think Analytics makes no guarantee, representations or warranties with regard to the enclosed information and specifically disclaims the implied warranties of fitness for a particular purpose and merchantability. </a:t>
            </a:r>
          </a:p>
          <a:p>
            <a:pPr algn="just"/>
            <a:endParaRPr lang="en-IN" sz="1100" dirty="0">
              <a:solidFill>
                <a:schemeClr val="bg1"/>
              </a:solidFill>
              <a:latin typeface="+mj-lt"/>
              <a:cs typeface="Arial" panose="020B0604020202020204" pitchFamily="34" charset="0"/>
            </a:endParaRPr>
          </a:p>
          <a:p>
            <a:pPr algn="just"/>
            <a:endParaRPr lang="en-IN" sz="1100" dirty="0">
              <a:solidFill>
                <a:schemeClr val="bg1"/>
              </a:solidFill>
              <a:latin typeface="+mj-lt"/>
              <a:cs typeface="Arial" panose="020B0604020202020204" pitchFamily="34" charset="0"/>
            </a:endParaRPr>
          </a:p>
          <a:p>
            <a:pPr algn="just"/>
            <a:r>
              <a:rPr lang="en-IN" sz="1100" dirty="0">
                <a:solidFill>
                  <a:schemeClr val="bg1"/>
                </a:solidFill>
                <a:latin typeface="+mj-lt"/>
                <a:cs typeface="Arial" panose="020B0604020202020204" pitchFamily="34" charset="0"/>
              </a:rPr>
              <a:t>All other trademarks acknowledged. </a:t>
            </a:r>
            <a:endParaRPr lang="en-US" sz="1100" dirty="0">
              <a:solidFill>
                <a:schemeClr val="bg1"/>
              </a:solidFill>
              <a:latin typeface="+mj-lt"/>
              <a:cs typeface="Arial" panose="020B0604020202020204" pitchFamily="34" charset="0"/>
            </a:endParaRPr>
          </a:p>
        </p:txBody>
      </p:sp>
      <p:pic>
        <p:nvPicPr>
          <p:cNvPr id="11" name="Picture 10">
            <a:extLst>
              <a:ext uri="{FF2B5EF4-FFF2-40B4-BE49-F238E27FC236}">
                <a16:creationId xmlns:a16="http://schemas.microsoft.com/office/drawing/2014/main" id="{29417577-9B20-4DBC-B0B8-EF1D4411A9C5}"/>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79676" y="2983166"/>
            <a:ext cx="3546818" cy="681122"/>
          </a:xfrm>
          <a:prstGeom prst="rect">
            <a:avLst/>
          </a:prstGeom>
        </p:spPr>
      </p:pic>
      <p:sp>
        <p:nvSpPr>
          <p:cNvPr id="12" name="Text Placeholder 11">
            <a:extLst>
              <a:ext uri="{FF2B5EF4-FFF2-40B4-BE49-F238E27FC236}">
                <a16:creationId xmlns:a16="http://schemas.microsoft.com/office/drawing/2014/main" id="{82FB5642-10BF-40DD-BBA4-2AC19ECCB178}"/>
              </a:ext>
            </a:extLst>
          </p:cNvPr>
          <p:cNvSpPr>
            <a:spLocks noGrp="1"/>
          </p:cNvSpPr>
          <p:nvPr>
            <p:ph type="body" sz="quarter" idx="10" hasCustomPrompt="1"/>
          </p:nvPr>
        </p:nvSpPr>
        <p:spPr>
          <a:xfrm>
            <a:off x="606872" y="3368435"/>
            <a:ext cx="4886325" cy="914400"/>
          </a:xfrm>
          <a:prstGeom prst="rect">
            <a:avLst/>
          </a:prstGeom>
        </p:spPr>
        <p:txBody>
          <a:bodyPr lIns="0"/>
          <a:lstStyle>
            <a:lvl1pPr>
              <a:buNone/>
              <a:defRPr sz="6000" b="1">
                <a:solidFill>
                  <a:schemeClr val="accent1"/>
                </a:solidFill>
              </a:defRPr>
            </a:lvl1pPr>
          </a:lstStyle>
          <a:p>
            <a:pPr lvl="0"/>
            <a:r>
              <a:rPr lang="en-US" dirty="0"/>
              <a:t>THANK YOU</a:t>
            </a:r>
          </a:p>
        </p:txBody>
      </p:sp>
      <p:sp>
        <p:nvSpPr>
          <p:cNvPr id="14" name="Content Placeholder 13">
            <a:extLst>
              <a:ext uri="{FF2B5EF4-FFF2-40B4-BE49-F238E27FC236}">
                <a16:creationId xmlns:a16="http://schemas.microsoft.com/office/drawing/2014/main" id="{0E48944C-848D-4065-B757-CB33B2AA8E51}"/>
              </a:ext>
            </a:extLst>
          </p:cNvPr>
          <p:cNvSpPr>
            <a:spLocks noGrp="1"/>
          </p:cNvSpPr>
          <p:nvPr>
            <p:ph sz="quarter" idx="11" hasCustomPrompt="1"/>
          </p:nvPr>
        </p:nvSpPr>
        <p:spPr>
          <a:xfrm>
            <a:off x="606872" y="4733685"/>
            <a:ext cx="4625976" cy="496887"/>
          </a:xfrm>
          <a:prstGeom prst="rect">
            <a:avLst/>
          </a:prstGeom>
        </p:spPr>
        <p:txBody>
          <a:bodyPr/>
          <a:lstStyle>
            <a:lvl1pPr marL="0" indent="0">
              <a:buNone/>
              <a:defRPr sz="2800" b="1"/>
            </a:lvl1pPr>
          </a:lstStyle>
          <a:p>
            <a:pPr lvl="0"/>
            <a:r>
              <a:rPr lang="en-US" dirty="0"/>
              <a:t>TYPE TEXT HERE</a:t>
            </a:r>
          </a:p>
        </p:txBody>
      </p:sp>
    </p:spTree>
    <p:extLst>
      <p:ext uri="{BB962C8B-B14F-4D97-AF65-F5344CB8AC3E}">
        <p14:creationId xmlns:p14="http://schemas.microsoft.com/office/powerpoint/2010/main" val="2474054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7133" y="104775"/>
            <a:ext cx="11463867" cy="555625"/>
          </a:xfrm>
        </p:spPr>
        <p:txBody>
          <a:bodyPr/>
          <a:lstStyle>
            <a:lvl1pPr>
              <a:defRPr sz="2400"/>
            </a:lvl1pPr>
          </a:lstStyle>
          <a:p>
            <a:r>
              <a:rPr lang="en-US" dirty="0"/>
              <a:t>Click to edit Master title style</a:t>
            </a:r>
          </a:p>
        </p:txBody>
      </p:sp>
      <p:sp>
        <p:nvSpPr>
          <p:cNvPr id="3" name="Content Placeholder 2"/>
          <p:cNvSpPr>
            <a:spLocks noGrp="1"/>
          </p:cNvSpPr>
          <p:nvPr>
            <p:ph idx="1"/>
          </p:nvPr>
        </p:nvSpPr>
        <p:spPr>
          <a:xfrm>
            <a:off x="270933" y="1117600"/>
            <a:ext cx="11540067" cy="5041900"/>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p>
            <a:fld id="{E4457392-2B8E-4606-85DF-64EA717046BE}"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711166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Standard 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p:custDataLst>
              <p:tags r:id="rId1"/>
            </p:custDataLst>
            <p:extLst>
              <p:ext uri="{D42A27DB-BD31-4B8C-83A1-F6EECF244321}">
                <p14:modId xmlns:p14="http://schemas.microsoft.com/office/powerpoint/2010/main" val="2604241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dirty="0">
              <a:solidFill>
                <a:srgbClr val="333333"/>
              </a:solidFill>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solidFill>
                  <a:schemeClr val="accent2"/>
                </a:solidFill>
                <a:latin typeface="+mj-lt"/>
              </a:defRPr>
            </a:lvl1pPr>
          </a:lstStyle>
          <a:p>
            <a:r>
              <a:rPr lang="en-US"/>
              <a:t>Click to edit Master title style</a:t>
            </a:r>
            <a:endParaRPr lang="en-US" dirty="0"/>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tx1"/>
                </a:solidFill>
              </a:defRPr>
            </a:lvl1pPr>
          </a:lstStyle>
          <a:p>
            <a:pPr defTabSz="457200"/>
            <a:fld id="{33B05D85-7E10-5D4F-A75C-A55D283254FB}" type="slidenum">
              <a:rPr lang="en-US" smtClean="0"/>
              <a:pPr defTabSz="457200"/>
              <a:t>‹#›</a:t>
            </a:fld>
            <a:endParaRPr lang="en-US" dirty="0"/>
          </a:p>
        </p:txBody>
      </p:sp>
      <p:sp>
        <p:nvSpPr>
          <p:cNvPr id="10" name="Content Placeholder 2">
            <a:extLst>
              <a:ext uri="{FF2B5EF4-FFF2-40B4-BE49-F238E27FC236}">
                <a16:creationId xmlns:a16="http://schemas.microsoft.com/office/drawing/2014/main" id="{66E79CE0-7F29-4D6E-81D4-0EB6837CE8EB}"/>
              </a:ext>
            </a:extLst>
          </p:cNvPr>
          <p:cNvSpPr>
            <a:spLocks noGrp="1"/>
          </p:cNvSpPr>
          <p:nvPr>
            <p:ph sz="quarter" idx="14"/>
          </p:nvPr>
        </p:nvSpPr>
        <p:spPr>
          <a:xfrm>
            <a:off x="609600" y="793115"/>
            <a:ext cx="10998200" cy="441939"/>
          </a:xfrm>
          <a:prstGeom prst="rect">
            <a:avLst/>
          </a:prstGeom>
        </p:spPr>
        <p:txBody>
          <a:bodyPr lIns="0"/>
          <a:lstStyle>
            <a:lvl1pPr marL="0" indent="0">
              <a:spcBef>
                <a:spcPts val="1200"/>
              </a:spcBef>
              <a:buNone/>
              <a:defRPr sz="1400">
                <a:solidFill>
                  <a:schemeClr val="tx2"/>
                </a:solidFill>
              </a:defRPr>
            </a:lvl1pPr>
            <a:lvl2pPr marL="342900" indent="-171450">
              <a:spcBef>
                <a:spcPts val="1200"/>
              </a:spcBef>
              <a:defRPr sz="1600">
                <a:solidFill>
                  <a:schemeClr val="accent6"/>
                </a:solidFill>
              </a:defRPr>
            </a:lvl2pPr>
            <a:lvl3pPr marL="521208" indent="-171450">
              <a:spcBef>
                <a:spcPts val="1200"/>
              </a:spcBef>
              <a:buFont typeface="Courier New" panose="02070309020205020404" pitchFamily="49" charset="0"/>
              <a:buChar char="o"/>
              <a:defRPr sz="1600">
                <a:solidFill>
                  <a:schemeClr val="accent6"/>
                </a:solidFill>
              </a:defRPr>
            </a:lvl3pPr>
            <a:lvl4pPr marL="685800" indent="-173736">
              <a:spcBef>
                <a:spcPts val="1200"/>
              </a:spcBef>
              <a:defRPr sz="1600">
                <a:solidFill>
                  <a:schemeClr val="accent6"/>
                </a:solidFill>
              </a:defRPr>
            </a:lvl4pPr>
            <a:lvl5pPr marL="914400" indent="-173736">
              <a:spcBef>
                <a:spcPts val="1200"/>
              </a:spcBef>
              <a:defRPr sz="1600">
                <a:solidFill>
                  <a:schemeClr val="accent6"/>
                </a:solidFill>
              </a:defRPr>
            </a:lvl5pPr>
          </a:lstStyle>
          <a:p>
            <a:pPr lvl="0"/>
            <a:r>
              <a:rPr lang="en-US"/>
              <a:t>Click to edit Master text styles</a:t>
            </a:r>
          </a:p>
        </p:txBody>
      </p:sp>
    </p:spTree>
    <p:extLst>
      <p:ext uri="{BB962C8B-B14F-4D97-AF65-F5344CB8AC3E}">
        <p14:creationId xmlns:p14="http://schemas.microsoft.com/office/powerpoint/2010/main" val="366861619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_Standard Content Slide">
  <p:cSld name="2_Standard Content Slide">
    <p:spTree>
      <p:nvGrpSpPr>
        <p:cNvPr id="1" name="Shape 101"/>
        <p:cNvGrpSpPr/>
        <p:nvPr/>
      </p:nvGrpSpPr>
      <p:grpSpPr>
        <a:xfrm>
          <a:off x="0" y="0"/>
          <a:ext cx="0" cy="0"/>
          <a:chOff x="0" y="0"/>
          <a:chExt cx="0" cy="0"/>
        </a:xfrm>
      </p:grpSpPr>
      <p:sp>
        <p:nvSpPr>
          <p:cNvPr id="102" name="Google Shape;102;gcc20f37f6e_6_12"/>
          <p:cNvSpPr txBox="1">
            <a:spLocks noGrp="1"/>
          </p:cNvSpPr>
          <p:nvPr>
            <p:ph type="title"/>
          </p:nvPr>
        </p:nvSpPr>
        <p:spPr>
          <a:xfrm>
            <a:off x="609600" y="1"/>
            <a:ext cx="10998200" cy="874394"/>
          </a:xfrm>
          <a:prstGeom prst="rect">
            <a:avLst/>
          </a:prstGeom>
          <a:noFill/>
          <a:ln>
            <a:noFill/>
          </a:ln>
        </p:spPr>
        <p:txBody>
          <a:bodyPr spcFirstLastPara="1" wrap="square" lIns="0" tIns="91425" rIns="0" bIns="45700" anchor="ctr" anchorCtr="0">
            <a:noAutofit/>
          </a:bodyPr>
          <a:lstStyle>
            <a:lvl1pPr marR="0" lvl="0" algn="l" rtl="0">
              <a:spcBef>
                <a:spcPts val="0"/>
              </a:spcBef>
              <a:spcAft>
                <a:spcPts val="0"/>
              </a:spcAft>
              <a:buClr>
                <a:schemeClr val="accent2"/>
              </a:buClr>
              <a:buSzPts val="2400"/>
              <a:buFont typeface="Arial"/>
              <a:buNone/>
              <a:defRPr sz="2400" b="1" i="0" u="none" strike="noStrike" cap="none">
                <a:solidFill>
                  <a:schemeClr val="accent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03" name="Google Shape;103;gcc20f37f6e_6_12"/>
          <p:cNvSpPr txBox="1">
            <a:spLocks noGrp="1"/>
          </p:cNvSpPr>
          <p:nvPr>
            <p:ph type="sldNum" idx="12"/>
          </p:nvPr>
        </p:nvSpPr>
        <p:spPr>
          <a:xfrm>
            <a:off x="10660200" y="6352439"/>
            <a:ext cx="947600" cy="223229"/>
          </a:xfrm>
          <a:prstGeom prst="rect">
            <a:avLst/>
          </a:prstGeom>
          <a:noFill/>
          <a:ln>
            <a:noFill/>
          </a:ln>
        </p:spPr>
        <p:txBody>
          <a:bodyPr spcFirstLastPara="1" wrap="square" lIns="91425" tIns="45700" rIns="0" bIns="45700" anchor="ctr" anchorCtr="0">
            <a:noAutofit/>
          </a:bodyPr>
          <a:lstStyle>
            <a:lvl1pPr marL="0" marR="0" lvl="0" indent="0" algn="r">
              <a:spcBef>
                <a:spcPts val="0"/>
              </a:spcBef>
              <a:buNone/>
              <a:defRPr sz="1100" b="1">
                <a:solidFill>
                  <a:schemeClr val="dk1"/>
                </a:solidFill>
                <a:latin typeface="Arial" panose="020B0604020202020204" pitchFamily="34" charset="0"/>
                <a:ea typeface="Arial" panose="020B0604020202020204" pitchFamily="34" charset="0"/>
                <a:cs typeface="Arial" panose="020B0604020202020204" pitchFamily="34" charset="0"/>
                <a:sym typeface="Helvetica Neue"/>
              </a:defRPr>
            </a:lvl1pPr>
            <a:lvl2pPr marL="0" marR="0" lvl="1" indent="0" algn="r">
              <a:spcBef>
                <a:spcPts val="0"/>
              </a:spcBef>
              <a:buNone/>
              <a:defRPr sz="1100" b="1">
                <a:solidFill>
                  <a:schemeClr val="dk1"/>
                </a:solidFill>
                <a:latin typeface="Helvetica Neue"/>
                <a:ea typeface="Helvetica Neue"/>
                <a:cs typeface="Helvetica Neue"/>
                <a:sym typeface="Helvetica Neue"/>
              </a:defRPr>
            </a:lvl2pPr>
            <a:lvl3pPr marL="0" marR="0" lvl="2" indent="0" algn="r">
              <a:spcBef>
                <a:spcPts val="0"/>
              </a:spcBef>
              <a:buNone/>
              <a:defRPr sz="1100" b="1">
                <a:solidFill>
                  <a:schemeClr val="dk1"/>
                </a:solidFill>
                <a:latin typeface="Helvetica Neue"/>
                <a:ea typeface="Helvetica Neue"/>
                <a:cs typeface="Helvetica Neue"/>
                <a:sym typeface="Helvetica Neue"/>
              </a:defRPr>
            </a:lvl3pPr>
            <a:lvl4pPr marL="0" marR="0" lvl="3" indent="0" algn="r">
              <a:spcBef>
                <a:spcPts val="0"/>
              </a:spcBef>
              <a:buNone/>
              <a:defRPr sz="1100" b="1">
                <a:solidFill>
                  <a:schemeClr val="dk1"/>
                </a:solidFill>
                <a:latin typeface="Helvetica Neue"/>
                <a:ea typeface="Helvetica Neue"/>
                <a:cs typeface="Helvetica Neue"/>
                <a:sym typeface="Helvetica Neue"/>
              </a:defRPr>
            </a:lvl4pPr>
            <a:lvl5pPr marL="0" marR="0" lvl="4" indent="0" algn="r">
              <a:spcBef>
                <a:spcPts val="0"/>
              </a:spcBef>
              <a:buNone/>
              <a:defRPr sz="1100" b="1">
                <a:solidFill>
                  <a:schemeClr val="dk1"/>
                </a:solidFill>
                <a:latin typeface="Helvetica Neue"/>
                <a:ea typeface="Helvetica Neue"/>
                <a:cs typeface="Helvetica Neue"/>
                <a:sym typeface="Helvetica Neue"/>
              </a:defRPr>
            </a:lvl5pPr>
            <a:lvl6pPr marL="0" marR="0" lvl="5" indent="0" algn="r">
              <a:spcBef>
                <a:spcPts val="0"/>
              </a:spcBef>
              <a:buNone/>
              <a:defRPr sz="1100" b="1">
                <a:solidFill>
                  <a:schemeClr val="dk1"/>
                </a:solidFill>
                <a:latin typeface="Helvetica Neue"/>
                <a:ea typeface="Helvetica Neue"/>
                <a:cs typeface="Helvetica Neue"/>
                <a:sym typeface="Helvetica Neue"/>
              </a:defRPr>
            </a:lvl6pPr>
            <a:lvl7pPr marL="0" marR="0" lvl="6" indent="0" algn="r">
              <a:spcBef>
                <a:spcPts val="0"/>
              </a:spcBef>
              <a:buNone/>
              <a:defRPr sz="1100" b="1">
                <a:solidFill>
                  <a:schemeClr val="dk1"/>
                </a:solidFill>
                <a:latin typeface="Helvetica Neue"/>
                <a:ea typeface="Helvetica Neue"/>
                <a:cs typeface="Helvetica Neue"/>
                <a:sym typeface="Helvetica Neue"/>
              </a:defRPr>
            </a:lvl7pPr>
            <a:lvl8pPr marL="0" marR="0" lvl="7" indent="0" algn="r">
              <a:spcBef>
                <a:spcPts val="0"/>
              </a:spcBef>
              <a:buNone/>
              <a:defRPr sz="1100" b="1">
                <a:solidFill>
                  <a:schemeClr val="dk1"/>
                </a:solidFill>
                <a:latin typeface="Helvetica Neue"/>
                <a:ea typeface="Helvetica Neue"/>
                <a:cs typeface="Helvetica Neue"/>
                <a:sym typeface="Helvetica Neue"/>
              </a:defRPr>
            </a:lvl8pPr>
            <a:lvl9pPr marL="0" marR="0" lvl="8" indent="0" algn="r">
              <a:spcBef>
                <a:spcPts val="0"/>
              </a:spcBef>
              <a:buNone/>
              <a:defRPr sz="1100" b="1">
                <a:solidFill>
                  <a:schemeClr val="dk1"/>
                </a:solidFill>
                <a:latin typeface="Helvetica Neue"/>
                <a:ea typeface="Helvetica Neue"/>
                <a:cs typeface="Helvetica Neue"/>
                <a:sym typeface="Helvetica Neue"/>
              </a:defRPr>
            </a:lvl9pPr>
          </a:lstStyle>
          <a:p>
            <a:fld id="{00000000-1234-1234-1234-123412341234}" type="slidenum">
              <a:rPr lang="en-US" smtClean="0"/>
              <a:pPr/>
              <a:t>‹#›</a:t>
            </a:fld>
            <a:endParaRPr lang="en-US" dirty="0"/>
          </a:p>
        </p:txBody>
      </p:sp>
      <p:sp>
        <p:nvSpPr>
          <p:cNvPr id="104" name="Google Shape;104;gcc20f37f6e_6_12"/>
          <p:cNvSpPr txBox="1">
            <a:spLocks noGrp="1"/>
          </p:cNvSpPr>
          <p:nvPr>
            <p:ph type="body" idx="1"/>
          </p:nvPr>
        </p:nvSpPr>
        <p:spPr>
          <a:xfrm>
            <a:off x="609600" y="793115"/>
            <a:ext cx="10998200" cy="441939"/>
          </a:xfrm>
          <a:prstGeom prst="rect">
            <a:avLst/>
          </a:prstGeom>
          <a:noFill/>
          <a:ln>
            <a:noFill/>
          </a:ln>
        </p:spPr>
        <p:txBody>
          <a:bodyPr spcFirstLastPara="1" wrap="square" lIns="0" tIns="45700" rIns="91425" bIns="45700" anchor="t" anchorCtr="0">
            <a:noAutofit/>
          </a:bodyPr>
          <a:lstStyle>
            <a:lvl1pPr marL="457200" marR="0" lvl="0" indent="-228600" algn="l" rtl="0">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1pPr>
            <a:lvl2pPr marL="914400" marR="0" lvl="1" indent="-330200" algn="l" rtl="0">
              <a:spcBef>
                <a:spcPts val="1200"/>
              </a:spcBef>
              <a:spcAft>
                <a:spcPts val="0"/>
              </a:spcAft>
              <a:buClr>
                <a:schemeClr val="accent6"/>
              </a:buClr>
              <a:buSzPts val="1600"/>
              <a:buFont typeface="Arial"/>
              <a:buChar char="–"/>
              <a:defRPr sz="1600" b="0" i="0" u="none" strike="noStrike" cap="none">
                <a:solidFill>
                  <a:schemeClr val="accent6"/>
                </a:solidFill>
                <a:latin typeface="Arial"/>
                <a:ea typeface="Arial"/>
                <a:cs typeface="Arial"/>
                <a:sym typeface="Arial"/>
              </a:defRPr>
            </a:lvl2pPr>
            <a:lvl3pPr marL="1371600" marR="0" lvl="2" indent="-330200" algn="l" rtl="0">
              <a:spcBef>
                <a:spcPts val="1200"/>
              </a:spcBef>
              <a:spcAft>
                <a:spcPts val="0"/>
              </a:spcAft>
              <a:buClr>
                <a:schemeClr val="accent6"/>
              </a:buClr>
              <a:buSzPts val="1600"/>
              <a:buFont typeface="Courier New"/>
              <a:buChar char="o"/>
              <a:defRPr sz="1600" b="0" i="0" u="none" strike="noStrike" cap="none">
                <a:solidFill>
                  <a:schemeClr val="accent6"/>
                </a:solidFill>
                <a:latin typeface="Arial"/>
                <a:ea typeface="Arial"/>
                <a:cs typeface="Arial"/>
                <a:sym typeface="Arial"/>
              </a:defRPr>
            </a:lvl3pPr>
            <a:lvl4pPr marL="1828800" marR="0" lvl="3" indent="-330200" algn="l" rtl="0">
              <a:spcBef>
                <a:spcPts val="1200"/>
              </a:spcBef>
              <a:spcAft>
                <a:spcPts val="0"/>
              </a:spcAft>
              <a:buClr>
                <a:schemeClr val="accent6"/>
              </a:buClr>
              <a:buSzPts val="1600"/>
              <a:buFont typeface="Arial"/>
              <a:buChar char="–"/>
              <a:defRPr sz="1600" b="0" i="0" u="none" strike="noStrike" cap="none">
                <a:solidFill>
                  <a:schemeClr val="accent6"/>
                </a:solidFill>
                <a:latin typeface="Arial"/>
                <a:ea typeface="Arial"/>
                <a:cs typeface="Arial"/>
                <a:sym typeface="Arial"/>
              </a:defRPr>
            </a:lvl4pPr>
            <a:lvl5pPr marL="2286000" marR="0" lvl="4" indent="-330200" algn="l" rtl="0">
              <a:spcBef>
                <a:spcPts val="1200"/>
              </a:spcBef>
              <a:spcAft>
                <a:spcPts val="0"/>
              </a:spcAft>
              <a:buClr>
                <a:schemeClr val="accent6"/>
              </a:buClr>
              <a:buSzPts val="1600"/>
              <a:buFont typeface="Arial"/>
              <a:buChar char="»"/>
              <a:defRPr sz="1600" b="0" i="0" u="none" strike="noStrike" cap="none">
                <a:solidFill>
                  <a:schemeClr val="accent6"/>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dirty="0"/>
          </a:p>
        </p:txBody>
      </p:sp>
    </p:spTree>
    <p:extLst>
      <p:ext uri="{BB962C8B-B14F-4D97-AF65-F5344CB8AC3E}">
        <p14:creationId xmlns:p14="http://schemas.microsoft.com/office/powerpoint/2010/main" val="162381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tiff"/><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C6C87A-51D0-417D-98EB-64DD490CF953}"/>
              </a:ext>
            </a:extLst>
          </p:cNvPr>
          <p:cNvGraphicFramePr>
            <a:graphicFrameLocks noChangeAspect="1"/>
          </p:cNvGraphicFramePr>
          <p:nvPr>
            <p:custDataLst>
              <p:tags r:id="rId13"/>
            </p:custDataLst>
            <p:extLst>
              <p:ext uri="{D42A27DB-BD31-4B8C-83A1-F6EECF244321}">
                <p14:modId xmlns:p14="http://schemas.microsoft.com/office/powerpoint/2010/main" val="2388006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4" name="Object 3" hidden="1">
                        <a:extLst>
                          <a:ext uri="{FF2B5EF4-FFF2-40B4-BE49-F238E27FC236}">
                            <a16:creationId xmlns:a16="http://schemas.microsoft.com/office/drawing/2014/main" id="{29C6C87A-51D0-417D-98EB-64DD490CF95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6" name="Slide Number Placeholder 6"/>
          <p:cNvSpPr>
            <a:spLocks noGrp="1"/>
          </p:cNvSpPr>
          <p:nvPr>
            <p:ph type="sldNum" sz="quarter" idx="4"/>
          </p:nvPr>
        </p:nvSpPr>
        <p:spPr>
          <a:xfrm>
            <a:off x="10660200" y="6493660"/>
            <a:ext cx="947600" cy="223229"/>
          </a:xfrm>
          <a:prstGeom prst="rect">
            <a:avLst/>
          </a:prstGeom>
        </p:spPr>
        <p:txBody>
          <a:bodyPr rIns="0" anchor="ctr">
            <a:noAutofit/>
          </a:bodyPr>
          <a:lstStyle>
            <a:lvl1pPr algn="r">
              <a:defRPr sz="1000" b="1">
                <a:solidFill>
                  <a:schemeClr val="accent6"/>
                </a:solidFill>
                <a:latin typeface="Helvetica Neue" pitchFamily="2" charset="0"/>
              </a:defRPr>
            </a:lvl1pPr>
          </a:lstStyle>
          <a:p>
            <a:pPr defTabSz="457200"/>
            <a:fld id="{33B05D85-7E10-5D4F-A75C-A55D283254FB}" type="slidenum">
              <a:rPr lang="en-US" smtClean="0"/>
              <a:pPr defTabSz="457200"/>
              <a:t>‹#›</a:t>
            </a:fld>
            <a:endParaRPr lang="en-US" dirty="0"/>
          </a:p>
        </p:txBody>
      </p:sp>
      <p:sp>
        <p:nvSpPr>
          <p:cNvPr id="3" name="TextBox 2"/>
          <p:cNvSpPr txBox="1"/>
          <p:nvPr/>
        </p:nvSpPr>
        <p:spPr>
          <a:xfrm>
            <a:off x="2886756" y="1841017"/>
            <a:ext cx="1219200" cy="914400"/>
          </a:xfrm>
          <a:prstGeom prst="rect">
            <a:avLst/>
          </a:prstGeom>
          <a:noFill/>
        </p:spPr>
        <p:txBody>
          <a:bodyPr wrap="none" rtlCol="0" anchor="ctr">
            <a:noAutofit/>
          </a:bodyPr>
          <a:lstStyle/>
          <a:p>
            <a:pPr algn="ctr"/>
            <a:endParaRPr lang="en-US" sz="1400" spc="0" dirty="0" err="1"/>
          </a:p>
        </p:txBody>
      </p:sp>
      <p:sp>
        <p:nvSpPr>
          <p:cNvPr id="24" name="TextBox 23">
            <a:extLst>
              <a:ext uri="{FF2B5EF4-FFF2-40B4-BE49-F238E27FC236}">
                <a16:creationId xmlns:a16="http://schemas.microsoft.com/office/drawing/2014/main" id="{A14D85E3-5D4D-43D5-AAE8-A65730EC0FAB}"/>
              </a:ext>
            </a:extLst>
          </p:cNvPr>
          <p:cNvSpPr txBox="1"/>
          <p:nvPr/>
        </p:nvSpPr>
        <p:spPr>
          <a:xfrm>
            <a:off x="4972552" y="6433602"/>
            <a:ext cx="2495371" cy="343344"/>
          </a:xfrm>
          <a:prstGeom prst="rect">
            <a:avLst/>
          </a:prstGeom>
          <a:noFill/>
        </p:spPr>
        <p:txBody>
          <a:bodyPr wrap="square" rtlCol="0" anchor="ctr">
            <a:noAutofit/>
          </a:bodyPr>
          <a:lstStyle/>
          <a:p>
            <a:pPr algn="ctr"/>
            <a:r>
              <a:rPr lang="en-US" sz="1000" b="0" spc="110" baseline="0" dirty="0">
                <a:solidFill>
                  <a:schemeClr val="tx1"/>
                </a:solidFill>
                <a:latin typeface="+mj-lt"/>
              </a:rPr>
              <a:t>© 2021 Think360.ai</a:t>
            </a:r>
          </a:p>
        </p:txBody>
      </p:sp>
      <p:pic>
        <p:nvPicPr>
          <p:cNvPr id="9" name="Picture 8">
            <a:extLst>
              <a:ext uri="{FF2B5EF4-FFF2-40B4-BE49-F238E27FC236}">
                <a16:creationId xmlns:a16="http://schemas.microsoft.com/office/drawing/2014/main" id="{51F46CE5-CCFB-4D7D-BA10-5C9988649020}"/>
              </a:ext>
            </a:extLst>
          </p:cNvPr>
          <p:cNvPicPr>
            <a:picLocks noChangeAspect="1"/>
          </p:cNvPicPr>
          <p:nvPr/>
        </p:nvPicPr>
        <p:blipFill>
          <a:blip r:embed="rId16"/>
          <a:stretch>
            <a:fillRect/>
          </a:stretch>
        </p:blipFill>
        <p:spPr>
          <a:xfrm>
            <a:off x="174704" y="6451109"/>
            <a:ext cx="1605571" cy="308330"/>
          </a:xfrm>
          <a:prstGeom prst="rect">
            <a:avLst/>
          </a:prstGeom>
        </p:spPr>
      </p:pic>
      <p:pic>
        <p:nvPicPr>
          <p:cNvPr id="7" name="Picture 6">
            <a:extLst>
              <a:ext uri="{FF2B5EF4-FFF2-40B4-BE49-F238E27FC236}">
                <a16:creationId xmlns:a16="http://schemas.microsoft.com/office/drawing/2014/main" id="{A23B8EF3-BFD5-0E46-ACD8-5D1517E66EE7}"/>
              </a:ext>
            </a:extLst>
          </p:cNvPr>
          <p:cNvPicPr>
            <a:picLocks noChangeAspect="1"/>
          </p:cNvPicPr>
          <p:nvPr userDrawn="1"/>
        </p:nvPicPr>
        <p:blipFill rotWithShape="1">
          <a:blip r:embed="rId17"/>
          <a:srcRect l="18122" r="22717"/>
          <a:stretch/>
        </p:blipFill>
        <p:spPr>
          <a:xfrm>
            <a:off x="11244401" y="-128921"/>
            <a:ext cx="947600" cy="1601731"/>
          </a:xfrm>
          <a:prstGeom prst="rect">
            <a:avLst/>
          </a:prstGeom>
        </p:spPr>
      </p:pic>
    </p:spTree>
    <p:extLst>
      <p:ext uri="{BB962C8B-B14F-4D97-AF65-F5344CB8AC3E}">
        <p14:creationId xmlns:p14="http://schemas.microsoft.com/office/powerpoint/2010/main" val="1271892499"/>
      </p:ext>
    </p:extLst>
  </p:cSld>
  <p:clrMap bg1="lt1" tx1="dk1" bg2="lt2" tx2="dk2" accent1="accent1" accent2="accent2" accent3="accent3" accent4="accent4" accent5="accent5" accent6="accent6" hlink="hlink" folHlink="folHlink"/>
  <p:sldLayoutIdLst>
    <p:sldLayoutId id="2147490244" r:id="rId1"/>
    <p:sldLayoutId id="2147490190" r:id="rId2"/>
    <p:sldLayoutId id="2147490248" r:id="rId3"/>
    <p:sldLayoutId id="2147490251" r:id="rId4"/>
    <p:sldLayoutId id="2147490193" r:id="rId5"/>
    <p:sldLayoutId id="2147490250" r:id="rId6"/>
    <p:sldLayoutId id="2147490253" r:id="rId7"/>
    <p:sldLayoutId id="2147490254" r:id="rId8"/>
    <p:sldLayoutId id="2147490273" r:id="rId9"/>
    <p:sldLayoutId id="2147490274" r:id="rId10"/>
    <p:sldLayoutId id="2147490275" r:id="rId11"/>
  </p:sldLayoutIdLst>
  <p:hf hdr="0" ftr="0" dt="0"/>
  <p:txStyles>
    <p:titleStyle>
      <a:lvl1pPr algn="l" defTabSz="457200" rtl="0" eaLnBrk="1" latinLnBrk="0" hangingPunct="1">
        <a:spcBef>
          <a:spcPct val="0"/>
        </a:spcBef>
        <a:buNone/>
        <a:defRPr sz="6000" kern="1200" baseline="0">
          <a:solidFill>
            <a:schemeClr val="bg1"/>
          </a:solidFill>
          <a:latin typeface="+mj-lt"/>
          <a:ea typeface="+mj-ea"/>
          <a:cs typeface="+mj-cs"/>
        </a:defRPr>
      </a:lvl1pPr>
    </p:titleStyle>
    <p:bodyStyle>
      <a:lvl1pPr marL="287338" indent="-287338" algn="l" defTabSz="457200" rtl="0" eaLnBrk="1" latinLnBrk="0" hangingPunct="1">
        <a:spcBef>
          <a:spcPct val="20000"/>
        </a:spcBef>
        <a:buFont typeface="Arial"/>
        <a:buChar char="•"/>
        <a:defRPr sz="2000" kern="1200">
          <a:solidFill>
            <a:srgbClr val="FFFFFF"/>
          </a:solidFill>
          <a:latin typeface="+mn-lt"/>
          <a:ea typeface="+mn-ea"/>
          <a:cs typeface="+mn-cs"/>
        </a:defRPr>
      </a:lvl1pPr>
      <a:lvl2pPr marL="627063" indent="-288925" algn="l" defTabSz="457200" rtl="0" eaLnBrk="1" latinLnBrk="0" hangingPunct="1">
        <a:spcBef>
          <a:spcPct val="20000"/>
        </a:spcBef>
        <a:buFont typeface="Arial"/>
        <a:buChar char="–"/>
        <a:tabLst/>
        <a:defRPr sz="1800" kern="1200">
          <a:solidFill>
            <a:srgbClr val="FFFFFF"/>
          </a:solidFill>
          <a:latin typeface="+mn-lt"/>
          <a:ea typeface="+mn-ea"/>
          <a:cs typeface="+mn-cs"/>
        </a:defRPr>
      </a:lvl2pPr>
      <a:lvl3pPr marL="855663" indent="-228600" algn="l" defTabSz="457200" rtl="0" eaLnBrk="1" latinLnBrk="0" hangingPunct="1">
        <a:spcBef>
          <a:spcPct val="20000"/>
        </a:spcBef>
        <a:buFont typeface="Arial"/>
        <a:buChar char="•"/>
        <a:defRPr sz="1600" kern="1200">
          <a:solidFill>
            <a:srgbClr val="FFFFFF"/>
          </a:solidFill>
          <a:latin typeface="+mn-lt"/>
          <a:ea typeface="+mn-ea"/>
          <a:cs typeface="+mn-cs"/>
        </a:defRPr>
      </a:lvl3pPr>
      <a:lvl4pPr marL="1143000" indent="-279400" algn="l" defTabSz="457200" rtl="0" eaLnBrk="1" latinLnBrk="0" hangingPunct="1">
        <a:spcBef>
          <a:spcPct val="20000"/>
        </a:spcBef>
        <a:buFont typeface="Arial"/>
        <a:buChar char="–"/>
        <a:defRPr sz="1600" kern="1200">
          <a:solidFill>
            <a:srgbClr val="FFFFFF"/>
          </a:solidFill>
          <a:latin typeface="+mn-lt"/>
          <a:ea typeface="+mn-ea"/>
          <a:cs typeface="+mn-cs"/>
        </a:defRPr>
      </a:lvl4pPr>
      <a:lvl5pPr marL="1371600" indent="-228600" algn="l" defTabSz="457200" rtl="0" eaLnBrk="1" latinLnBrk="0" hangingPunct="1">
        <a:spcBef>
          <a:spcPct val="20000"/>
        </a:spcBef>
        <a:buFont typeface="Arial"/>
        <a:buChar char="»"/>
        <a:defRPr sz="16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slideLayout" Target="../slideLayouts/slideLayout10.xml"/><Relationship Id="rId1" Type="http://schemas.openxmlformats.org/officeDocument/2006/relationships/themeOverride" Target="../theme/themeOverrid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3.tiff"/></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7.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tiff"/><Relationship Id="rId21" Type="http://schemas.openxmlformats.org/officeDocument/2006/relationships/image" Target="../media/image37.png"/><Relationship Id="rId34" Type="http://schemas.openxmlformats.org/officeDocument/2006/relationships/image" Target="../media/image50.gif"/><Relationship Id="rId42" Type="http://schemas.openxmlformats.org/officeDocument/2006/relationships/image" Target="../media/image58.jpeg"/><Relationship Id="rId7" Type="http://schemas.openxmlformats.org/officeDocument/2006/relationships/image" Target="../media/image23.png"/><Relationship Id="rId2" Type="http://schemas.openxmlformats.org/officeDocument/2006/relationships/image" Target="../media/image18.png"/><Relationship Id="rId16" Type="http://schemas.openxmlformats.org/officeDocument/2006/relationships/image" Target="../media/image32.png"/><Relationship Id="rId29"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22.jpeg"/><Relationship Id="rId11" Type="http://schemas.openxmlformats.org/officeDocument/2006/relationships/image" Target="../media/image27.png"/><Relationship Id="rId24" Type="http://schemas.openxmlformats.org/officeDocument/2006/relationships/image" Target="../media/image40.tiff"/><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jpeg"/><Relationship Id="rId45" Type="http://schemas.openxmlformats.org/officeDocument/2006/relationships/image" Target="../media/image61.pn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10" Type="http://schemas.openxmlformats.org/officeDocument/2006/relationships/image" Target="../media/image26.png"/><Relationship Id="rId19" Type="http://schemas.openxmlformats.org/officeDocument/2006/relationships/image" Target="../media/image35.png"/><Relationship Id="rId31" Type="http://schemas.openxmlformats.org/officeDocument/2006/relationships/image" Target="../media/image47.jpeg"/><Relationship Id="rId44" Type="http://schemas.openxmlformats.org/officeDocument/2006/relationships/image" Target="../media/image60.jpeg"/><Relationship Id="rId4" Type="http://schemas.openxmlformats.org/officeDocument/2006/relationships/image" Target="../media/image20.tiff"/><Relationship Id="rId9" Type="http://schemas.openxmlformats.org/officeDocument/2006/relationships/image" Target="../media/image25.png"/><Relationship Id="rId14" Type="http://schemas.openxmlformats.org/officeDocument/2006/relationships/image" Target="../media/image30.jpeg"/><Relationship Id="rId22" Type="http://schemas.openxmlformats.org/officeDocument/2006/relationships/image" Target="../media/image38.tiff"/><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jpeg"/><Relationship Id="rId43" Type="http://schemas.openxmlformats.org/officeDocument/2006/relationships/image" Target="../media/image59.png"/><Relationship Id="rId8" Type="http://schemas.openxmlformats.org/officeDocument/2006/relationships/image" Target="../media/image24.jpeg"/><Relationship Id="rId3" Type="http://schemas.openxmlformats.org/officeDocument/2006/relationships/image" Target="../media/image19.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20" Type="http://schemas.openxmlformats.org/officeDocument/2006/relationships/image" Target="../media/image36.png"/><Relationship Id="rId41" Type="http://schemas.openxmlformats.org/officeDocument/2006/relationships/image" Target="../media/image57.png"/></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69.png"/><Relationship Id="rId3" Type="http://schemas.openxmlformats.org/officeDocument/2006/relationships/image" Target="../media/image62.png"/><Relationship Id="rId7" Type="http://schemas.openxmlformats.org/officeDocument/2006/relationships/image" Target="../media/image65.png"/><Relationship Id="rId12" Type="http://schemas.microsoft.com/office/2007/relationships/hdphoto" Target="../media/hdphoto4.wdp"/><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64.png"/><Relationship Id="rId11" Type="http://schemas.openxmlformats.org/officeDocument/2006/relationships/image" Target="../media/image68.png"/><Relationship Id="rId5" Type="http://schemas.openxmlformats.org/officeDocument/2006/relationships/image" Target="../media/image63.png"/><Relationship Id="rId10" Type="http://schemas.openxmlformats.org/officeDocument/2006/relationships/image" Target="../media/image67.png"/><Relationship Id="rId4" Type="http://schemas.microsoft.com/office/2007/relationships/hdphoto" Target="../media/hdphoto2.wdp"/><Relationship Id="rId9" Type="http://schemas.openxmlformats.org/officeDocument/2006/relationships/image" Target="../media/image66.png"/><Relationship Id="rId14" Type="http://schemas.microsoft.com/office/2007/relationships/hdphoto" Target="../media/hdphoto5.wdp"/></Relationships>
</file>

<file path=ppt/slides/_rels/slide8.xml.rels><?xml version="1.0" encoding="UTF-8" standalone="yes"?>
<Relationships xmlns="http://schemas.openxmlformats.org/package/2006/relationships"><Relationship Id="rId13" Type="http://schemas.openxmlformats.org/officeDocument/2006/relationships/image" Target="../media/image81.png"/><Relationship Id="rId18" Type="http://schemas.openxmlformats.org/officeDocument/2006/relationships/image" Target="../media/image86.png"/><Relationship Id="rId26" Type="http://schemas.openxmlformats.org/officeDocument/2006/relationships/image" Target="../media/image94.jpeg"/><Relationship Id="rId39" Type="http://schemas.openxmlformats.org/officeDocument/2006/relationships/image" Target="../media/image106.png"/><Relationship Id="rId21" Type="http://schemas.openxmlformats.org/officeDocument/2006/relationships/image" Target="../media/image89.png"/><Relationship Id="rId34" Type="http://schemas.openxmlformats.org/officeDocument/2006/relationships/image" Target="../media/image102.png"/><Relationship Id="rId42" Type="http://schemas.openxmlformats.org/officeDocument/2006/relationships/image" Target="../media/image109.png"/><Relationship Id="rId47" Type="http://schemas.openxmlformats.org/officeDocument/2006/relationships/image" Target="../media/image114.png"/><Relationship Id="rId7" Type="http://schemas.openxmlformats.org/officeDocument/2006/relationships/image" Target="../media/image75.png"/><Relationship Id="rId2" Type="http://schemas.openxmlformats.org/officeDocument/2006/relationships/image" Target="../media/image70.jpeg"/><Relationship Id="rId16" Type="http://schemas.openxmlformats.org/officeDocument/2006/relationships/image" Target="../media/image84.jpeg"/><Relationship Id="rId29" Type="http://schemas.openxmlformats.org/officeDocument/2006/relationships/image" Target="../media/image97.png"/><Relationship Id="rId11" Type="http://schemas.openxmlformats.org/officeDocument/2006/relationships/image" Target="../media/image79.png"/><Relationship Id="rId24" Type="http://schemas.openxmlformats.org/officeDocument/2006/relationships/image" Target="../media/image92.png"/><Relationship Id="rId32" Type="http://schemas.openxmlformats.org/officeDocument/2006/relationships/image" Target="../media/image100.png"/><Relationship Id="rId37" Type="http://schemas.microsoft.com/office/2007/relationships/hdphoto" Target="../media/hdphoto6.wdp"/><Relationship Id="rId40" Type="http://schemas.openxmlformats.org/officeDocument/2006/relationships/image" Target="../media/image107.png"/><Relationship Id="rId45" Type="http://schemas.openxmlformats.org/officeDocument/2006/relationships/image" Target="../media/image112.png"/><Relationship Id="rId5" Type="http://schemas.openxmlformats.org/officeDocument/2006/relationships/image" Target="../media/image73.png"/><Relationship Id="rId15" Type="http://schemas.openxmlformats.org/officeDocument/2006/relationships/image" Target="../media/image83.jpeg"/><Relationship Id="rId23" Type="http://schemas.openxmlformats.org/officeDocument/2006/relationships/image" Target="../media/image91.png"/><Relationship Id="rId28" Type="http://schemas.openxmlformats.org/officeDocument/2006/relationships/image" Target="../media/image96.png"/><Relationship Id="rId36" Type="http://schemas.openxmlformats.org/officeDocument/2006/relationships/image" Target="../media/image104.png"/><Relationship Id="rId49" Type="http://schemas.openxmlformats.org/officeDocument/2006/relationships/image" Target="../media/image116.png"/><Relationship Id="rId10" Type="http://schemas.openxmlformats.org/officeDocument/2006/relationships/image" Target="../media/image78.jpeg"/><Relationship Id="rId19" Type="http://schemas.openxmlformats.org/officeDocument/2006/relationships/image" Target="../media/image87.png"/><Relationship Id="rId31" Type="http://schemas.openxmlformats.org/officeDocument/2006/relationships/image" Target="../media/image99.png"/><Relationship Id="rId44" Type="http://schemas.openxmlformats.org/officeDocument/2006/relationships/image" Target="../media/image111.png"/><Relationship Id="rId4" Type="http://schemas.openxmlformats.org/officeDocument/2006/relationships/image" Target="../media/image72.jpeg"/><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jpeg"/><Relationship Id="rId27" Type="http://schemas.openxmlformats.org/officeDocument/2006/relationships/image" Target="../media/image95.png"/><Relationship Id="rId30" Type="http://schemas.openxmlformats.org/officeDocument/2006/relationships/image" Target="../media/image98.jpeg"/><Relationship Id="rId35" Type="http://schemas.openxmlformats.org/officeDocument/2006/relationships/image" Target="../media/image103.png"/><Relationship Id="rId43" Type="http://schemas.openxmlformats.org/officeDocument/2006/relationships/image" Target="../media/image110.png"/><Relationship Id="rId48" Type="http://schemas.openxmlformats.org/officeDocument/2006/relationships/image" Target="../media/image115.png"/><Relationship Id="rId8" Type="http://schemas.openxmlformats.org/officeDocument/2006/relationships/image" Target="../media/image76.png"/><Relationship Id="rId3" Type="http://schemas.openxmlformats.org/officeDocument/2006/relationships/image" Target="../media/image71.png"/><Relationship Id="rId12" Type="http://schemas.openxmlformats.org/officeDocument/2006/relationships/image" Target="../media/image80.jpeg"/><Relationship Id="rId17" Type="http://schemas.openxmlformats.org/officeDocument/2006/relationships/image" Target="../media/image85.jpeg"/><Relationship Id="rId25" Type="http://schemas.openxmlformats.org/officeDocument/2006/relationships/image" Target="../media/image93.tiff"/><Relationship Id="rId33" Type="http://schemas.openxmlformats.org/officeDocument/2006/relationships/image" Target="../media/image101.png"/><Relationship Id="rId38" Type="http://schemas.openxmlformats.org/officeDocument/2006/relationships/image" Target="../media/image105.jpeg"/><Relationship Id="rId46" Type="http://schemas.openxmlformats.org/officeDocument/2006/relationships/image" Target="../media/image113.png"/><Relationship Id="rId20" Type="http://schemas.openxmlformats.org/officeDocument/2006/relationships/image" Target="../media/image88.jpeg"/><Relationship Id="rId41"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image" Target="../media/image74.png"/></Relationships>
</file>

<file path=ppt/slides/_rels/slide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931943-3489-4068-B69F-18B193FD7D42}"/>
              </a:ext>
            </a:extLst>
          </p:cNvPr>
          <p:cNvSpPr>
            <a:spLocks noGrp="1"/>
          </p:cNvSpPr>
          <p:nvPr>
            <p:ph type="body" sz="quarter" idx="13"/>
          </p:nvPr>
        </p:nvSpPr>
        <p:spPr>
          <a:xfrm>
            <a:off x="488041" y="4695284"/>
            <a:ext cx="7714926" cy="454763"/>
          </a:xfrm>
        </p:spPr>
        <p:txBody>
          <a:bodyPr/>
          <a:lstStyle/>
          <a:p>
            <a:r>
              <a:rPr lang="en-US" dirty="0">
                <a:solidFill>
                  <a:srgbClr val="25336F"/>
                </a:solidFill>
              </a:rPr>
              <a:t>Pre-Placement Talk </a:t>
            </a:r>
          </a:p>
        </p:txBody>
      </p:sp>
      <p:sp>
        <p:nvSpPr>
          <p:cNvPr id="7" name="Text Placeholder 6">
            <a:extLst>
              <a:ext uri="{FF2B5EF4-FFF2-40B4-BE49-F238E27FC236}">
                <a16:creationId xmlns:a16="http://schemas.microsoft.com/office/drawing/2014/main" id="{156359A7-816D-4A0C-95F0-DCF8CF5C03C6}"/>
              </a:ext>
            </a:extLst>
          </p:cNvPr>
          <p:cNvSpPr txBox="1">
            <a:spLocks/>
          </p:cNvSpPr>
          <p:nvPr/>
        </p:nvSpPr>
        <p:spPr>
          <a:xfrm>
            <a:off x="488041" y="5868564"/>
            <a:ext cx="6816328" cy="454763"/>
          </a:xfrm>
        </p:spPr>
        <p:txBody>
          <a:bodyPr>
            <a:noAutofit/>
          </a:bodyPr>
          <a:lstStyle>
            <a:lvl1pPr marL="0" indent="0" algn="l" defTabSz="457200" rtl="0" eaLnBrk="1" latinLnBrk="0" hangingPunct="1">
              <a:spcBef>
                <a:spcPct val="20000"/>
              </a:spcBef>
              <a:buFont typeface="Arial"/>
              <a:buNone/>
              <a:defRPr sz="2133" b="1" kern="1200">
                <a:solidFill>
                  <a:srgbClr val="595959"/>
                </a:solidFill>
                <a:latin typeface="+mn-lt"/>
                <a:ea typeface="+mn-ea"/>
                <a:cs typeface="+mn-cs"/>
              </a:defRPr>
            </a:lvl1pPr>
            <a:lvl2pPr marL="627063" indent="-288925" algn="l" defTabSz="457200" rtl="0" eaLnBrk="1" latinLnBrk="0" hangingPunct="1">
              <a:spcBef>
                <a:spcPct val="20000"/>
              </a:spcBef>
              <a:buFont typeface="Arial"/>
              <a:buChar char="–"/>
              <a:tabLst/>
              <a:defRPr sz="1800" kern="1200">
                <a:solidFill>
                  <a:srgbClr val="FFFFFF"/>
                </a:solidFill>
                <a:latin typeface="+mn-lt"/>
                <a:ea typeface="+mn-ea"/>
                <a:cs typeface="+mn-cs"/>
              </a:defRPr>
            </a:lvl2pPr>
            <a:lvl3pPr marL="855663" indent="-228600" algn="l" defTabSz="457200" rtl="0" eaLnBrk="1" latinLnBrk="0" hangingPunct="1">
              <a:spcBef>
                <a:spcPct val="20000"/>
              </a:spcBef>
              <a:buFont typeface="Arial"/>
              <a:buChar char="•"/>
              <a:defRPr sz="1600" kern="1200">
                <a:solidFill>
                  <a:srgbClr val="FFFFFF"/>
                </a:solidFill>
                <a:latin typeface="+mn-lt"/>
                <a:ea typeface="+mn-ea"/>
                <a:cs typeface="+mn-cs"/>
              </a:defRPr>
            </a:lvl3pPr>
            <a:lvl4pPr marL="1143000" indent="-279400" algn="l" defTabSz="457200" rtl="0" eaLnBrk="1" latinLnBrk="0" hangingPunct="1">
              <a:spcBef>
                <a:spcPct val="20000"/>
              </a:spcBef>
              <a:buFont typeface="Arial"/>
              <a:buChar char="–"/>
              <a:defRPr sz="1600" kern="1200">
                <a:solidFill>
                  <a:srgbClr val="FFFFFF"/>
                </a:solidFill>
                <a:latin typeface="+mn-lt"/>
                <a:ea typeface="+mn-ea"/>
                <a:cs typeface="+mn-cs"/>
              </a:defRPr>
            </a:lvl4pPr>
            <a:lvl5pPr marL="1371600" indent="-228600" algn="l" defTabSz="457200" rtl="0" eaLnBrk="1" latinLnBrk="0" hangingPunct="1">
              <a:spcBef>
                <a:spcPct val="20000"/>
              </a:spcBef>
              <a:buFont typeface="Arial"/>
              <a:buChar char="»"/>
              <a:defRPr sz="16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a:t>June 2021</a:t>
            </a:r>
          </a:p>
        </p:txBody>
      </p:sp>
      <p:pic>
        <p:nvPicPr>
          <p:cNvPr id="4" name="Picture 3">
            <a:extLst>
              <a:ext uri="{FF2B5EF4-FFF2-40B4-BE49-F238E27FC236}">
                <a16:creationId xmlns:a16="http://schemas.microsoft.com/office/drawing/2014/main" id="{1B081DC0-AC69-6544-BD0D-29FCFAC7AE0C}"/>
              </a:ext>
            </a:extLst>
          </p:cNvPr>
          <p:cNvPicPr>
            <a:picLocks noChangeAspect="1"/>
          </p:cNvPicPr>
          <p:nvPr/>
        </p:nvPicPr>
        <p:blipFill>
          <a:blip r:embed="rId3"/>
          <a:stretch>
            <a:fillRect/>
          </a:stretch>
        </p:blipFill>
        <p:spPr>
          <a:xfrm>
            <a:off x="7011706" y="3958786"/>
            <a:ext cx="2731573" cy="2731573"/>
          </a:xfrm>
          <a:prstGeom prst="rect">
            <a:avLst/>
          </a:prstGeom>
        </p:spPr>
      </p:pic>
    </p:spTree>
    <p:extLst>
      <p:ext uri="{BB962C8B-B14F-4D97-AF65-F5344CB8AC3E}">
        <p14:creationId xmlns:p14="http://schemas.microsoft.com/office/powerpoint/2010/main" val="2988132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1A207AC-9943-42E7-9297-19D87FB72815}"/>
              </a:ext>
            </a:extLst>
          </p:cNvPr>
          <p:cNvSpPr>
            <a:spLocks noGrp="1"/>
          </p:cNvSpPr>
          <p:nvPr>
            <p:ph type="title" idx="4294967295"/>
          </p:nvPr>
        </p:nvSpPr>
        <p:spPr>
          <a:xfrm>
            <a:off x="511314" y="119850"/>
            <a:ext cx="4571661" cy="539750"/>
          </a:xfrm>
          <a:prstGeom prst="rect">
            <a:avLst/>
          </a:prstGeom>
        </p:spPr>
        <p:txBody>
          <a:bodyPr anchor="t">
            <a:normAutofit/>
          </a:bodyPr>
          <a:lstStyle/>
          <a:p>
            <a:r>
              <a:rPr lang="en-US" sz="2400" b="1" dirty="0">
                <a:solidFill>
                  <a:srgbClr val="D70038"/>
                </a:solidFill>
                <a:cs typeface="Segoe UI" panose="020B0502040204020203" pitchFamily="34" charset="0"/>
              </a:rPr>
              <a:t>Why Work with Us? </a:t>
            </a:r>
            <a:endParaRPr lang="en-US" sz="2400" dirty="0">
              <a:solidFill>
                <a:srgbClr val="D70038"/>
              </a:solidFill>
              <a:cs typeface="Segoe UI" panose="020B0502040204020203" pitchFamily="34" charset="0"/>
            </a:endParaRPr>
          </a:p>
        </p:txBody>
      </p:sp>
      <p:pic>
        <p:nvPicPr>
          <p:cNvPr id="9" name="Picture Placeholder 8" descr="A group of people posing for the camera&#10;&#10;Description generated with very high confidence">
            <a:extLst>
              <a:ext uri="{FF2B5EF4-FFF2-40B4-BE49-F238E27FC236}">
                <a16:creationId xmlns:a16="http://schemas.microsoft.com/office/drawing/2014/main" id="{BEB9165E-9865-4C11-BC33-2630AB5B2753}"/>
              </a:ext>
            </a:extLst>
          </p:cNvPr>
          <p:cNvPicPr>
            <a:picLocks noGrp="1" noChangeAspect="1"/>
          </p:cNvPicPr>
          <p:nvPr>
            <p:ph type="pic" idx="4294967295"/>
          </p:nvPr>
        </p:nvPicPr>
        <p:blipFill>
          <a:blip r:embed="rId3">
            <a:extLst>
              <a:ext uri="{28A0092B-C50C-407E-A947-70E740481C1C}">
                <a14:useLocalDpi xmlns:a14="http://schemas.microsoft.com/office/drawing/2010/main" val="0"/>
              </a:ext>
            </a:extLst>
          </a:blip>
          <a:srcRect l="19229" r="19229"/>
          <a:stretch>
            <a:fillRect/>
          </a:stretch>
        </p:blipFill>
        <p:spPr>
          <a:xfrm>
            <a:off x="5183188" y="987425"/>
            <a:ext cx="6172200" cy="4873625"/>
          </a:xfrm>
        </p:spPr>
      </p:pic>
      <p:sp>
        <p:nvSpPr>
          <p:cNvPr id="2" name="Slide Number Placeholder 1">
            <a:extLst>
              <a:ext uri="{FF2B5EF4-FFF2-40B4-BE49-F238E27FC236}">
                <a16:creationId xmlns:a16="http://schemas.microsoft.com/office/drawing/2014/main" id="{88489670-177D-C04E-B745-B16C9B4710F4}"/>
              </a:ext>
            </a:extLst>
          </p:cNvPr>
          <p:cNvSpPr>
            <a:spLocks noGrp="1"/>
          </p:cNvSpPr>
          <p:nvPr>
            <p:ph type="sldNum" sz="quarter" idx="4294967295"/>
          </p:nvPr>
        </p:nvSpPr>
        <p:spPr>
          <a:xfrm>
            <a:off x="10660200" y="6493660"/>
            <a:ext cx="947600" cy="223229"/>
          </a:xfrm>
        </p:spPr>
        <p:txBody>
          <a:bodyPr/>
          <a:lstStyle/>
          <a:p>
            <a:fld id="{528BB524-624A-44EE-AE47-DEBD37F257B2}" type="slidenum">
              <a:rPr lang="en-US" smtClean="0"/>
              <a:t>10</a:t>
            </a:fld>
            <a:endParaRPr lang="en-US" dirty="0"/>
          </a:p>
        </p:txBody>
      </p:sp>
      <p:pic>
        <p:nvPicPr>
          <p:cNvPr id="8" name="Picture Placeholder 8" descr="A group of people posing for the camera&#10;&#10;Description generated with very high confidence">
            <a:extLst>
              <a:ext uri="{FF2B5EF4-FFF2-40B4-BE49-F238E27FC236}">
                <a16:creationId xmlns:a16="http://schemas.microsoft.com/office/drawing/2014/main" id="{30A8E43F-1BC0-481D-8778-3B3C71DD912F}"/>
              </a:ext>
            </a:extLst>
          </p:cNvPr>
          <p:cNvPicPr>
            <a:picLocks noChangeAspect="1"/>
          </p:cNvPicPr>
          <p:nvPr/>
        </p:nvPicPr>
        <p:blipFill>
          <a:blip r:embed="rId3">
            <a:extLst>
              <a:ext uri="{28A0092B-C50C-407E-A947-70E740481C1C}">
                <a14:useLocalDpi xmlns:a14="http://schemas.microsoft.com/office/drawing/2010/main" val="0"/>
              </a:ext>
            </a:extLst>
          </a:blip>
          <a:srcRect l="19229" r="19229"/>
          <a:stretch>
            <a:fillRect/>
          </a:stretch>
        </p:blipFill>
        <p:spPr>
          <a:xfrm>
            <a:off x="5769114" y="992187"/>
            <a:ext cx="6172200" cy="4873625"/>
          </a:xfrm>
        </p:spPr>
      </p:pic>
      <p:pic>
        <p:nvPicPr>
          <p:cNvPr id="10" name="Picture Placeholder 8" descr="A group of people posing for the camera&#10;&#10;Description generated with very high confidence">
            <a:extLst>
              <a:ext uri="{FF2B5EF4-FFF2-40B4-BE49-F238E27FC236}">
                <a16:creationId xmlns:a16="http://schemas.microsoft.com/office/drawing/2014/main" id="{1FF40347-7692-4A9C-926D-7D717749A4D4}"/>
              </a:ext>
            </a:extLst>
          </p:cNvPr>
          <p:cNvPicPr>
            <a:picLocks noChangeAspect="1"/>
          </p:cNvPicPr>
          <p:nvPr/>
        </p:nvPicPr>
        <p:blipFill>
          <a:blip r:embed="rId3">
            <a:extLst>
              <a:ext uri="{28A0092B-C50C-407E-A947-70E740481C1C}">
                <a14:useLocalDpi xmlns:a14="http://schemas.microsoft.com/office/drawing/2010/main" val="0"/>
              </a:ext>
            </a:extLst>
          </a:blip>
          <a:srcRect l="19229" r="19229"/>
          <a:stretch>
            <a:fillRect/>
          </a:stretch>
        </p:blipFill>
        <p:spPr>
          <a:xfrm>
            <a:off x="5395913" y="892310"/>
            <a:ext cx="5959475" cy="4873625"/>
          </a:xfrm>
          <a:prstGeom prst="rect">
            <a:avLst/>
          </a:prstGeom>
        </p:spPr>
      </p:pic>
      <p:sp>
        <p:nvSpPr>
          <p:cNvPr id="11" name="Rectangle 10">
            <a:extLst>
              <a:ext uri="{FF2B5EF4-FFF2-40B4-BE49-F238E27FC236}">
                <a16:creationId xmlns:a16="http://schemas.microsoft.com/office/drawing/2014/main" id="{B5181FDE-90A0-433A-9F01-2F768BACC010}"/>
              </a:ext>
            </a:extLst>
          </p:cNvPr>
          <p:cNvSpPr/>
          <p:nvPr/>
        </p:nvSpPr>
        <p:spPr>
          <a:xfrm>
            <a:off x="587374" y="836612"/>
            <a:ext cx="4595814" cy="5113338"/>
          </a:xfrm>
          <a:prstGeom prst="rect">
            <a:avLst/>
          </a:prstGeom>
          <a:solidFill>
            <a:schemeClr val="bg1"/>
          </a:solidFill>
        </p:spPr>
        <p:txBody>
          <a:bodyPr rtlCol="0" anchor="ctr">
            <a:noAutofit/>
          </a:bodyPr>
          <a:lstStyle/>
          <a:p>
            <a:pPr marL="300038" indent="-285750">
              <a:spcBef>
                <a:spcPts val="600"/>
              </a:spcBef>
              <a:buSzPct val="80000"/>
              <a:buFont typeface="Wingdings" panose="05000000000000000000" pitchFamily="2" charset="2"/>
              <a:buChar char="§"/>
              <a:tabLst>
                <a:tab pos="28575" algn="l"/>
              </a:tabLst>
            </a:pPr>
            <a:r>
              <a:rPr lang="en-US" sz="1600" dirty="0">
                <a:solidFill>
                  <a:schemeClr val="bg1">
                    <a:lumMod val="10000"/>
                  </a:schemeClr>
                </a:solidFill>
                <a:latin typeface="+mj-lt"/>
                <a:cs typeface="Segoe UI" panose="020B0502040204020203" pitchFamily="34" charset="0"/>
              </a:rPr>
              <a:t>High </a:t>
            </a:r>
            <a:r>
              <a:rPr lang="en-US" sz="1600" b="1" dirty="0">
                <a:solidFill>
                  <a:schemeClr val="bg1">
                    <a:lumMod val="10000"/>
                  </a:schemeClr>
                </a:solidFill>
                <a:latin typeface="+mj-lt"/>
                <a:cs typeface="Segoe UI" panose="020B0502040204020203" pitchFamily="34" charset="0"/>
              </a:rPr>
              <a:t>impact</a:t>
            </a:r>
            <a:r>
              <a:rPr lang="en-US" sz="1600" dirty="0">
                <a:solidFill>
                  <a:schemeClr val="bg1">
                    <a:lumMod val="10000"/>
                  </a:schemeClr>
                </a:solidFill>
                <a:latin typeface="+mj-lt"/>
                <a:cs typeface="Segoe UI" panose="020B0502040204020203" pitchFamily="34" charset="0"/>
              </a:rPr>
              <a:t> projects</a:t>
            </a:r>
          </a:p>
          <a:p>
            <a:pPr marL="300038" indent="-285750">
              <a:spcBef>
                <a:spcPts val="600"/>
              </a:spcBef>
              <a:buSzPct val="80000"/>
              <a:buFont typeface="Wingdings" panose="05000000000000000000" pitchFamily="2" charset="2"/>
              <a:buChar char="§"/>
              <a:tabLst>
                <a:tab pos="28575" algn="l"/>
              </a:tabLst>
            </a:pPr>
            <a:r>
              <a:rPr lang="en-US" sz="1600" dirty="0">
                <a:solidFill>
                  <a:schemeClr val="bg1">
                    <a:lumMod val="10000"/>
                  </a:schemeClr>
                </a:solidFill>
                <a:latin typeface="+mj-lt"/>
                <a:cs typeface="Segoe UI" panose="020B0502040204020203" pitchFamily="34" charset="0"/>
              </a:rPr>
              <a:t>High </a:t>
            </a:r>
            <a:r>
              <a:rPr lang="en-US" sz="1600" b="1" dirty="0">
                <a:solidFill>
                  <a:schemeClr val="bg1">
                    <a:lumMod val="10000"/>
                  </a:schemeClr>
                </a:solidFill>
                <a:latin typeface="+mj-lt"/>
                <a:cs typeface="Segoe UI" panose="020B0502040204020203" pitchFamily="34" charset="0"/>
              </a:rPr>
              <a:t>exposure</a:t>
            </a:r>
            <a:r>
              <a:rPr lang="en-US" sz="1600" dirty="0">
                <a:solidFill>
                  <a:schemeClr val="bg1">
                    <a:lumMod val="10000"/>
                  </a:schemeClr>
                </a:solidFill>
                <a:latin typeface="+mj-lt"/>
                <a:cs typeface="Segoe UI" panose="020B0502040204020203" pitchFamily="34" charset="0"/>
              </a:rPr>
              <a:t> to business problems and processes – high client exposure </a:t>
            </a:r>
          </a:p>
          <a:p>
            <a:pPr marL="300038" indent="-285750">
              <a:spcBef>
                <a:spcPts val="600"/>
              </a:spcBef>
              <a:buSzPct val="80000"/>
              <a:buFont typeface="Wingdings" panose="05000000000000000000" pitchFamily="2" charset="2"/>
              <a:buChar char="§"/>
              <a:tabLst>
                <a:tab pos="28575" algn="l"/>
              </a:tabLst>
            </a:pPr>
            <a:r>
              <a:rPr lang="en-US" sz="1600" dirty="0">
                <a:solidFill>
                  <a:schemeClr val="bg1">
                    <a:lumMod val="10000"/>
                  </a:schemeClr>
                </a:solidFill>
                <a:latin typeface="+mj-lt"/>
                <a:cs typeface="Segoe UI" panose="020B0502040204020203" pitchFamily="34" charset="0"/>
              </a:rPr>
              <a:t>Covid Measures</a:t>
            </a:r>
          </a:p>
          <a:p>
            <a:pPr marL="757238" lvl="1" indent="-285750">
              <a:spcBef>
                <a:spcPts val="600"/>
              </a:spcBef>
              <a:buSzPct val="80000"/>
              <a:buFont typeface="Arial" panose="020B0604020202020204" pitchFamily="34" charset="0"/>
              <a:buChar char="•"/>
              <a:tabLst>
                <a:tab pos="28575" algn="l"/>
              </a:tabLst>
            </a:pPr>
            <a:r>
              <a:rPr lang="en-US" sz="1600" dirty="0">
                <a:solidFill>
                  <a:schemeClr val="bg1">
                    <a:lumMod val="10000"/>
                  </a:schemeClr>
                </a:solidFill>
                <a:latin typeface="+mj-lt"/>
                <a:cs typeface="Segoe UI" panose="020B0502040204020203" pitchFamily="34" charset="0"/>
              </a:rPr>
              <a:t>Normal increment and bonus cycle – no Covid impact</a:t>
            </a:r>
          </a:p>
          <a:p>
            <a:pPr marL="757238" lvl="1" indent="-285750">
              <a:spcBef>
                <a:spcPts val="600"/>
              </a:spcBef>
              <a:buSzPct val="80000"/>
              <a:buFont typeface="Arial" panose="020B0604020202020204" pitchFamily="34" charset="0"/>
              <a:buChar char="•"/>
              <a:tabLst>
                <a:tab pos="28575" algn="l"/>
              </a:tabLst>
            </a:pPr>
            <a:r>
              <a:rPr lang="en-US" sz="1600" dirty="0">
                <a:solidFill>
                  <a:schemeClr val="bg1">
                    <a:lumMod val="10000"/>
                  </a:schemeClr>
                </a:solidFill>
                <a:latin typeface="+mj-lt"/>
                <a:cs typeface="Segoe UI" panose="020B0502040204020203" pitchFamily="34" charset="0"/>
              </a:rPr>
              <a:t>Work from home from March 2020 onwards  </a:t>
            </a:r>
          </a:p>
          <a:p>
            <a:pPr marL="757238" lvl="1" indent="-285750">
              <a:spcBef>
                <a:spcPts val="600"/>
              </a:spcBef>
              <a:buSzPct val="80000"/>
              <a:buFont typeface="Arial" panose="020B0604020202020204" pitchFamily="34" charset="0"/>
              <a:buChar char="•"/>
              <a:tabLst>
                <a:tab pos="28575" algn="l"/>
              </a:tabLst>
            </a:pPr>
            <a:r>
              <a:rPr lang="en-US" sz="1600" dirty="0">
                <a:solidFill>
                  <a:schemeClr val="bg1">
                    <a:lumMod val="10000"/>
                  </a:schemeClr>
                </a:solidFill>
                <a:latin typeface="+mj-lt"/>
                <a:cs typeface="Segoe UI" panose="020B0502040204020203" pitchFamily="34" charset="0"/>
              </a:rPr>
              <a:t>Reimbursement for setting up home office </a:t>
            </a:r>
          </a:p>
          <a:p>
            <a:pPr marL="757238" lvl="1" indent="-285750">
              <a:spcBef>
                <a:spcPts val="600"/>
              </a:spcBef>
              <a:buSzPct val="80000"/>
              <a:buFont typeface="Arial" panose="020B0604020202020204" pitchFamily="34" charset="0"/>
              <a:buChar char="•"/>
              <a:tabLst>
                <a:tab pos="28575" algn="l"/>
              </a:tabLst>
            </a:pPr>
            <a:r>
              <a:rPr lang="en-US" sz="1600" dirty="0">
                <a:solidFill>
                  <a:schemeClr val="bg1">
                    <a:lumMod val="10000"/>
                  </a:schemeClr>
                </a:solidFill>
                <a:latin typeface="+mj-lt"/>
                <a:cs typeface="Segoe UI" panose="020B0502040204020203" pitchFamily="34" charset="0"/>
              </a:rPr>
              <a:t>Health Insurance </a:t>
            </a:r>
          </a:p>
          <a:p>
            <a:pPr marL="757238" lvl="1" indent="-285750">
              <a:spcBef>
                <a:spcPts val="600"/>
              </a:spcBef>
              <a:buSzPct val="80000"/>
              <a:buFont typeface="Arial" panose="020B0604020202020204" pitchFamily="34" charset="0"/>
              <a:buChar char="•"/>
              <a:tabLst>
                <a:tab pos="28575" algn="l"/>
              </a:tabLst>
            </a:pPr>
            <a:r>
              <a:rPr lang="en-US" sz="1600" dirty="0">
                <a:solidFill>
                  <a:schemeClr val="bg1">
                    <a:lumMod val="10000"/>
                  </a:schemeClr>
                </a:solidFill>
                <a:latin typeface="+mj-lt"/>
                <a:cs typeface="Segoe UI" panose="020B0502040204020203" pitchFamily="34" charset="0"/>
              </a:rPr>
              <a:t>Extra leaves to take care of self and family </a:t>
            </a:r>
          </a:p>
          <a:p>
            <a:pPr marL="757238" lvl="1" indent="-285750">
              <a:spcBef>
                <a:spcPts val="600"/>
              </a:spcBef>
              <a:buSzPct val="80000"/>
              <a:buFont typeface="Arial" panose="020B0604020202020204" pitchFamily="34" charset="0"/>
              <a:buChar char="•"/>
              <a:tabLst>
                <a:tab pos="28575" algn="l"/>
              </a:tabLst>
            </a:pPr>
            <a:r>
              <a:rPr lang="en-US" sz="1600" dirty="0">
                <a:solidFill>
                  <a:schemeClr val="bg1">
                    <a:lumMod val="10000"/>
                  </a:schemeClr>
                </a:solidFill>
                <a:latin typeface="+mj-lt"/>
                <a:cs typeface="Segoe UI" panose="020B0502040204020203" pitchFamily="34" charset="0"/>
              </a:rPr>
              <a:t>Mental health sessions</a:t>
            </a:r>
          </a:p>
          <a:p>
            <a:pPr marL="300038" indent="-285750">
              <a:spcBef>
                <a:spcPts val="600"/>
              </a:spcBef>
              <a:buSzPct val="80000"/>
              <a:buFont typeface="Wingdings" panose="05000000000000000000" pitchFamily="2" charset="2"/>
              <a:buChar char="§"/>
              <a:tabLst>
                <a:tab pos="28575" algn="l"/>
              </a:tabLst>
            </a:pPr>
            <a:r>
              <a:rPr lang="en-US" sz="1600" dirty="0">
                <a:solidFill>
                  <a:schemeClr val="bg1">
                    <a:lumMod val="10000"/>
                  </a:schemeClr>
                </a:solidFill>
                <a:latin typeface="+mj-lt"/>
                <a:cs typeface="Segoe UI" panose="020B0502040204020203" pitchFamily="34" charset="0"/>
              </a:rPr>
              <a:t>In better times, we have quarterly outings and annual offsites </a:t>
            </a:r>
          </a:p>
        </p:txBody>
      </p:sp>
    </p:spTree>
    <p:extLst>
      <p:ext uri="{BB962C8B-B14F-4D97-AF65-F5344CB8AC3E}">
        <p14:creationId xmlns:p14="http://schemas.microsoft.com/office/powerpoint/2010/main" val="3926113671"/>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59E62-1422-D54F-9BE2-641C3F66F31E}"/>
              </a:ext>
            </a:extLst>
          </p:cNvPr>
          <p:cNvSpPr>
            <a:spLocks noGrp="1"/>
          </p:cNvSpPr>
          <p:nvPr>
            <p:ph type="title"/>
          </p:nvPr>
        </p:nvSpPr>
        <p:spPr/>
        <p:txBody>
          <a:bodyPr/>
          <a:lstStyle/>
          <a:p>
            <a:r>
              <a:rPr lang="en-US" dirty="0">
                <a:solidFill>
                  <a:schemeClr val="accent3"/>
                </a:solidFill>
              </a:rPr>
              <a:t>Team members we are looking for </a:t>
            </a:r>
          </a:p>
        </p:txBody>
      </p:sp>
      <p:sp>
        <p:nvSpPr>
          <p:cNvPr id="4" name="Slide Number Placeholder 3">
            <a:extLst>
              <a:ext uri="{FF2B5EF4-FFF2-40B4-BE49-F238E27FC236}">
                <a16:creationId xmlns:a16="http://schemas.microsoft.com/office/drawing/2014/main" id="{DEAA55F4-9D66-C84E-91C7-84875FBB116F}"/>
              </a:ext>
            </a:extLst>
          </p:cNvPr>
          <p:cNvSpPr>
            <a:spLocks noGrp="1"/>
          </p:cNvSpPr>
          <p:nvPr>
            <p:ph type="sldNum" sz="quarter" idx="4"/>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8BB524-624A-44EE-AE47-DEBD37F257B2}" type="slidenum">
              <a:rPr lang="en-US" smtClean="0"/>
              <a:pPr/>
              <a:t>11</a:t>
            </a:fld>
            <a:endParaRPr lang="en-US" dirty="0"/>
          </a:p>
        </p:txBody>
      </p:sp>
      <p:sp>
        <p:nvSpPr>
          <p:cNvPr id="6" name="TextBox 5">
            <a:extLst>
              <a:ext uri="{FF2B5EF4-FFF2-40B4-BE49-F238E27FC236}">
                <a16:creationId xmlns:a16="http://schemas.microsoft.com/office/drawing/2014/main" id="{6535BED0-B29A-4E1F-9918-33C425B0CE0E}"/>
              </a:ext>
            </a:extLst>
          </p:cNvPr>
          <p:cNvSpPr txBox="1"/>
          <p:nvPr/>
        </p:nvSpPr>
        <p:spPr>
          <a:xfrm>
            <a:off x="609600" y="5797233"/>
            <a:ext cx="2677886" cy="270588"/>
          </a:xfrm>
          <a:prstGeom prst="rect">
            <a:avLst/>
          </a:prstGeom>
          <a:solidFill>
            <a:srgbClr val="002D72"/>
          </a:solidFill>
        </p:spPr>
        <p:txBody>
          <a:bodyPr wrap="none" rtlCol="0" anchor="ctr">
            <a:noAutofit/>
          </a:bodyPr>
          <a:lstStyle/>
          <a:p>
            <a:pPr algn="l" defTabSz="457200">
              <a:spcBef>
                <a:spcPts val="1200"/>
              </a:spcBef>
            </a:pPr>
            <a:r>
              <a:rPr lang="en-IN" sz="1400" dirty="0">
                <a:solidFill>
                  <a:srgbClr val="FFFFFF"/>
                </a:solidFill>
              </a:rPr>
              <a:t>Note: JD Already Shared</a:t>
            </a:r>
          </a:p>
        </p:txBody>
      </p:sp>
      <p:sp>
        <p:nvSpPr>
          <p:cNvPr id="3" name="Rectangle 2">
            <a:extLst>
              <a:ext uri="{FF2B5EF4-FFF2-40B4-BE49-F238E27FC236}">
                <a16:creationId xmlns:a16="http://schemas.microsoft.com/office/drawing/2014/main" id="{6AEA9198-84DD-804F-B4F1-1650C66CE239}"/>
              </a:ext>
            </a:extLst>
          </p:cNvPr>
          <p:cNvSpPr/>
          <p:nvPr/>
        </p:nvSpPr>
        <p:spPr>
          <a:xfrm>
            <a:off x="587375" y="1420553"/>
            <a:ext cx="2484000" cy="1234440"/>
          </a:xfrm>
          <a:prstGeom prst="rect">
            <a:avLst/>
          </a:prstGeom>
          <a:solidFill>
            <a:schemeClr val="accent1"/>
          </a:solidFill>
        </p:spPr>
        <p:txBody>
          <a:bodyPr rtlCol="0" anchor="ctr">
            <a:noAutofit/>
          </a:bodyPr>
          <a:lstStyle/>
          <a:p>
            <a:pPr algn="ctr" defTabSz="457200">
              <a:spcBef>
                <a:spcPts val="1200"/>
              </a:spcBef>
            </a:pPr>
            <a:r>
              <a:rPr lang="en-US" sz="2000" b="1" dirty="0" err="1">
                <a:solidFill>
                  <a:schemeClr val="bg1"/>
                </a:solidFill>
              </a:rPr>
              <a:t>Fullstack</a:t>
            </a:r>
            <a:r>
              <a:rPr lang="en-US" sz="2000" b="1" dirty="0">
                <a:solidFill>
                  <a:schemeClr val="bg1"/>
                </a:solidFill>
              </a:rPr>
              <a:t> Designer</a:t>
            </a:r>
          </a:p>
        </p:txBody>
      </p:sp>
      <p:sp>
        <p:nvSpPr>
          <p:cNvPr id="7" name="Rectangle 6">
            <a:extLst>
              <a:ext uri="{FF2B5EF4-FFF2-40B4-BE49-F238E27FC236}">
                <a16:creationId xmlns:a16="http://schemas.microsoft.com/office/drawing/2014/main" id="{F1AFA548-CA8A-A343-84F6-0894EFB4C5DC}"/>
              </a:ext>
            </a:extLst>
          </p:cNvPr>
          <p:cNvSpPr/>
          <p:nvPr/>
        </p:nvSpPr>
        <p:spPr>
          <a:xfrm>
            <a:off x="587375" y="2928072"/>
            <a:ext cx="2484000" cy="1234440"/>
          </a:xfrm>
          <a:prstGeom prst="rect">
            <a:avLst/>
          </a:prstGeom>
          <a:solidFill>
            <a:schemeClr val="accent1"/>
          </a:solidFill>
        </p:spPr>
        <p:txBody>
          <a:bodyPr rtlCol="0" anchor="ctr">
            <a:noAutofit/>
          </a:bodyPr>
          <a:lstStyle/>
          <a:p>
            <a:pPr algn="ctr" defTabSz="457200">
              <a:spcBef>
                <a:spcPts val="1200"/>
              </a:spcBef>
            </a:pPr>
            <a:r>
              <a:rPr lang="en-US" sz="2000" b="1" dirty="0">
                <a:solidFill>
                  <a:schemeClr val="bg1"/>
                </a:solidFill>
              </a:rPr>
              <a:t>Data Analyst</a:t>
            </a:r>
          </a:p>
        </p:txBody>
      </p:sp>
      <p:sp>
        <p:nvSpPr>
          <p:cNvPr id="8" name="Rectangle 7">
            <a:extLst>
              <a:ext uri="{FF2B5EF4-FFF2-40B4-BE49-F238E27FC236}">
                <a16:creationId xmlns:a16="http://schemas.microsoft.com/office/drawing/2014/main" id="{CDEB7F99-0CC0-3A49-9689-37F615139A65}"/>
              </a:ext>
            </a:extLst>
          </p:cNvPr>
          <p:cNvSpPr/>
          <p:nvPr/>
        </p:nvSpPr>
        <p:spPr>
          <a:xfrm>
            <a:off x="587375" y="4379036"/>
            <a:ext cx="2484000" cy="1234440"/>
          </a:xfrm>
          <a:prstGeom prst="rect">
            <a:avLst/>
          </a:prstGeom>
          <a:solidFill>
            <a:schemeClr val="accent1"/>
          </a:solidFill>
        </p:spPr>
        <p:txBody>
          <a:bodyPr rtlCol="0" anchor="ctr">
            <a:noAutofit/>
          </a:bodyPr>
          <a:lstStyle/>
          <a:p>
            <a:pPr algn="ctr" defTabSz="457200">
              <a:spcBef>
                <a:spcPts val="1200"/>
              </a:spcBef>
            </a:pPr>
            <a:r>
              <a:rPr lang="en-US" sz="2000" b="1" dirty="0">
                <a:solidFill>
                  <a:schemeClr val="bg1"/>
                </a:solidFill>
              </a:rPr>
              <a:t>Data/ Software Engineer</a:t>
            </a:r>
          </a:p>
        </p:txBody>
      </p:sp>
    </p:spTree>
    <p:extLst>
      <p:ext uri="{BB962C8B-B14F-4D97-AF65-F5344CB8AC3E}">
        <p14:creationId xmlns:p14="http://schemas.microsoft.com/office/powerpoint/2010/main" val="2389022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24FEF-B4C2-4B21-BD48-4A48AD94884A}"/>
              </a:ext>
            </a:extLst>
          </p:cNvPr>
          <p:cNvSpPr>
            <a:spLocks noGrp="1"/>
          </p:cNvSpPr>
          <p:nvPr>
            <p:ph type="title"/>
          </p:nvPr>
        </p:nvSpPr>
        <p:spPr>
          <a:xfrm>
            <a:off x="609600" y="1"/>
            <a:ext cx="10998200" cy="874394"/>
          </a:xfrm>
        </p:spPr>
        <p:txBody>
          <a:bodyPr anchor="ctr">
            <a:normAutofit/>
          </a:bodyPr>
          <a:lstStyle/>
          <a:p>
            <a:r>
              <a:rPr lang="en-US" dirty="0">
                <a:solidFill>
                  <a:schemeClr val="accent3"/>
                </a:solidFill>
              </a:rPr>
              <a:t>Our Interview Process</a:t>
            </a:r>
          </a:p>
        </p:txBody>
      </p:sp>
      <p:sp>
        <p:nvSpPr>
          <p:cNvPr id="3" name="Slide Number Placeholder 2">
            <a:extLst>
              <a:ext uri="{FF2B5EF4-FFF2-40B4-BE49-F238E27FC236}">
                <a16:creationId xmlns:a16="http://schemas.microsoft.com/office/drawing/2014/main" id="{4F87E2C6-0FAB-C44E-9C39-620261C81919}"/>
              </a:ext>
            </a:extLst>
          </p:cNvPr>
          <p:cNvSpPr>
            <a:spLocks noGrp="1"/>
          </p:cNvSpPr>
          <p:nvPr>
            <p:ph type="sldNum" sz="quarter" idx="4"/>
          </p:nvPr>
        </p:nvSpPr>
        <p:spPr>
          <a:xfrm>
            <a:off x="10660200" y="6352439"/>
            <a:ext cx="947600" cy="223229"/>
          </a:xfr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fld id="{528BB524-624A-44EE-AE47-DEBD37F257B2}" type="slidenum">
              <a:rPr lang="en-US" sz="900" smtClean="0">
                <a:solidFill>
                  <a:schemeClr val="accent6"/>
                </a:solidFill>
              </a:rPr>
              <a:pPr>
                <a:lnSpc>
                  <a:spcPct val="90000"/>
                </a:lnSpc>
                <a:spcAft>
                  <a:spcPts val="600"/>
                </a:spcAft>
              </a:pPr>
              <a:t>12</a:t>
            </a:fld>
            <a:endParaRPr lang="en-US" sz="900">
              <a:solidFill>
                <a:schemeClr val="accent6"/>
              </a:solidFill>
            </a:endParaRPr>
          </a:p>
        </p:txBody>
      </p:sp>
      <p:graphicFrame>
        <p:nvGraphicFramePr>
          <p:cNvPr id="5" name="Content Placeholder 2">
            <a:extLst>
              <a:ext uri="{FF2B5EF4-FFF2-40B4-BE49-F238E27FC236}">
                <a16:creationId xmlns:a16="http://schemas.microsoft.com/office/drawing/2014/main" id="{A3EE17B9-EC69-4F31-9DF5-45CC6CB3D099}"/>
              </a:ext>
            </a:extLst>
          </p:cNvPr>
          <p:cNvGraphicFramePr>
            <a:graphicFrameLocks noGrp="1"/>
          </p:cNvGraphicFramePr>
          <p:nvPr>
            <p:ph sz="quarter" idx="13"/>
            <p:extLst>
              <p:ext uri="{D42A27DB-BD31-4B8C-83A1-F6EECF244321}">
                <p14:modId xmlns:p14="http://schemas.microsoft.com/office/powerpoint/2010/main" val="1159071148"/>
              </p:ext>
            </p:extLst>
          </p:nvPr>
        </p:nvGraphicFramePr>
        <p:xfrm>
          <a:off x="609600" y="1209675"/>
          <a:ext cx="10998200" cy="47609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882F321E-61EF-F94C-8588-463279E1ABC7}"/>
              </a:ext>
            </a:extLst>
          </p:cNvPr>
          <p:cNvSpPr txBox="1"/>
          <p:nvPr/>
        </p:nvSpPr>
        <p:spPr>
          <a:xfrm>
            <a:off x="3844212" y="541176"/>
            <a:ext cx="0" cy="0"/>
          </a:xfrm>
          <a:prstGeom prst="rect">
            <a:avLst/>
          </a:prstGeom>
          <a:noFill/>
        </p:spPr>
        <p:txBody>
          <a:bodyPr wrap="none" rtlCol="0" anchor="ctr">
            <a:noAutofit/>
          </a:bodyPr>
          <a:lstStyle/>
          <a:p>
            <a:pPr marL="173038" indent="-173038" algn="l" defTabSz="457200">
              <a:spcBef>
                <a:spcPts val="1200"/>
              </a:spcBef>
              <a:buFont typeface="Arial"/>
              <a:buChar char="•"/>
            </a:pPr>
            <a:endParaRPr lang="en-US" sz="1600" dirty="0" err="1">
              <a:solidFill>
                <a:srgbClr val="333333"/>
              </a:solidFill>
            </a:endParaRPr>
          </a:p>
        </p:txBody>
      </p:sp>
    </p:spTree>
    <p:extLst>
      <p:ext uri="{BB962C8B-B14F-4D97-AF65-F5344CB8AC3E}">
        <p14:creationId xmlns:p14="http://schemas.microsoft.com/office/powerpoint/2010/main" val="867044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C72E0-2B9A-424B-AAE5-A5DF74C0B1FB}"/>
              </a:ext>
            </a:extLst>
          </p:cNvPr>
          <p:cNvSpPr>
            <a:spLocks noGrp="1"/>
          </p:cNvSpPr>
          <p:nvPr>
            <p:ph type="title"/>
          </p:nvPr>
        </p:nvSpPr>
        <p:spPr/>
        <p:txBody>
          <a:bodyPr>
            <a:normAutofit/>
          </a:bodyPr>
          <a:lstStyle/>
          <a:p>
            <a:r>
              <a:rPr lang="en-US" b="1" dirty="0">
                <a:solidFill>
                  <a:srgbClr val="D70038"/>
                </a:solidFill>
                <a:cs typeface="Segoe UI" panose="020B0502040204020203" pitchFamily="34" charset="0"/>
              </a:rPr>
              <a:t>Salary &amp; Benefits</a:t>
            </a:r>
          </a:p>
        </p:txBody>
      </p:sp>
      <p:sp>
        <p:nvSpPr>
          <p:cNvPr id="5" name="Slide Number Placeholder 4">
            <a:extLst>
              <a:ext uri="{FF2B5EF4-FFF2-40B4-BE49-F238E27FC236}">
                <a16:creationId xmlns:a16="http://schemas.microsoft.com/office/drawing/2014/main" id="{425AA1D0-C5FE-7E44-8713-6E611DF61C82}"/>
              </a:ext>
            </a:extLst>
          </p:cNvPr>
          <p:cNvSpPr>
            <a:spLocks noGrp="1"/>
          </p:cNvSpPr>
          <p:nvPr>
            <p:ph type="sldNum" sz="quarter" idx="4"/>
          </p:nvPr>
        </p:nvSpPr>
        <p:spPr>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8BB524-624A-44EE-AE47-DEBD37F257B2}" type="slidenum">
              <a:rPr lang="en-US" smtClean="0"/>
              <a:pPr/>
              <a:t>13</a:t>
            </a:fld>
            <a:endParaRPr lang="en-US" dirty="0"/>
          </a:p>
        </p:txBody>
      </p:sp>
      <p:graphicFrame>
        <p:nvGraphicFramePr>
          <p:cNvPr id="4" name="Content Placeholder 3">
            <a:extLst>
              <a:ext uri="{FF2B5EF4-FFF2-40B4-BE49-F238E27FC236}">
                <a16:creationId xmlns:a16="http://schemas.microsoft.com/office/drawing/2014/main" id="{ADFCFD8A-4731-46AE-8284-EC2A08D9890C}"/>
              </a:ext>
            </a:extLst>
          </p:cNvPr>
          <p:cNvGraphicFramePr>
            <a:graphicFrameLocks noGrp="1"/>
          </p:cNvGraphicFramePr>
          <p:nvPr>
            <p:ph sz="quarter" idx="14"/>
            <p:extLst>
              <p:ext uri="{D42A27DB-BD31-4B8C-83A1-F6EECF244321}">
                <p14:modId xmlns:p14="http://schemas.microsoft.com/office/powerpoint/2010/main" val="303421589"/>
              </p:ext>
            </p:extLst>
          </p:nvPr>
        </p:nvGraphicFramePr>
        <p:xfrm>
          <a:off x="609600" y="896938"/>
          <a:ext cx="10755086" cy="2726472"/>
        </p:xfrm>
        <a:graphic>
          <a:graphicData uri="http://schemas.openxmlformats.org/drawingml/2006/table">
            <a:tbl>
              <a:tblPr firstRow="1" bandRow="1">
                <a:effectLst/>
                <a:tableStyleId>{ED083AE6-46FA-4A59-8FB0-9F97EB10719F}</a:tableStyleId>
              </a:tblPr>
              <a:tblGrid>
                <a:gridCol w="5377543">
                  <a:extLst>
                    <a:ext uri="{9D8B030D-6E8A-4147-A177-3AD203B41FA5}">
                      <a16:colId xmlns:a16="http://schemas.microsoft.com/office/drawing/2014/main" val="692093884"/>
                    </a:ext>
                  </a:extLst>
                </a:gridCol>
                <a:gridCol w="5377543">
                  <a:extLst>
                    <a:ext uri="{9D8B030D-6E8A-4147-A177-3AD203B41FA5}">
                      <a16:colId xmlns:a16="http://schemas.microsoft.com/office/drawing/2014/main" val="1776986161"/>
                    </a:ext>
                  </a:extLst>
                </a:gridCol>
              </a:tblGrid>
              <a:tr h="454412">
                <a:tc>
                  <a:txBody>
                    <a:bodyPr/>
                    <a:lstStyle/>
                    <a:p>
                      <a:pPr algn="ctr"/>
                      <a:r>
                        <a:rPr lang="en-US" sz="1600" dirty="0">
                          <a:solidFill>
                            <a:schemeClr val="bg1"/>
                          </a:solidFill>
                        </a:rPr>
                        <a:t>Salary Component </a:t>
                      </a:r>
                      <a:endParaRPr lang="en-US" sz="1600" dirty="0">
                        <a:solidFill>
                          <a:schemeClr val="bg1"/>
                        </a:solidFill>
                        <a:latin typeface="Segoe UI" panose="020B0502040204020203" pitchFamily="34" charset="0"/>
                        <a:cs typeface="Segoe UI" panose="020B0502040204020203" pitchFamily="34" charset="0"/>
                      </a:endParaRPr>
                    </a:p>
                  </a:txBody>
                  <a:tcPr marL="100584" marR="100584" anchor="ctr">
                    <a:solidFill>
                      <a:srgbClr val="D70038"/>
                    </a:solidFill>
                  </a:tcPr>
                </a:tc>
                <a:tc>
                  <a:txBody>
                    <a:bodyPr/>
                    <a:lstStyle/>
                    <a:p>
                      <a:pPr algn="ctr"/>
                      <a:r>
                        <a:rPr lang="en-US" sz="1600" dirty="0">
                          <a:solidFill>
                            <a:schemeClr val="bg1"/>
                          </a:solidFill>
                        </a:rPr>
                        <a:t>Annual Amount (INR)</a:t>
                      </a:r>
                      <a:endParaRPr lang="en-US" sz="1600" dirty="0">
                        <a:solidFill>
                          <a:schemeClr val="bg1"/>
                        </a:solidFill>
                        <a:latin typeface="Segoe UI" panose="020B0502040204020203" pitchFamily="34" charset="0"/>
                        <a:cs typeface="Segoe UI" panose="020B0502040204020203" pitchFamily="34" charset="0"/>
                      </a:endParaRPr>
                    </a:p>
                  </a:txBody>
                  <a:tcPr marL="100584" marR="100584" anchor="ctr">
                    <a:solidFill>
                      <a:srgbClr val="D70038"/>
                    </a:solidFill>
                  </a:tcPr>
                </a:tc>
                <a:extLst>
                  <a:ext uri="{0D108BD9-81ED-4DB2-BD59-A6C34878D82A}">
                    <a16:rowId xmlns:a16="http://schemas.microsoft.com/office/drawing/2014/main" val="468513977"/>
                  </a:ext>
                </a:extLst>
              </a:tr>
              <a:tr h="454412">
                <a:tc>
                  <a:txBody>
                    <a:bodyPr/>
                    <a:lstStyle/>
                    <a:p>
                      <a:r>
                        <a:rPr lang="en-US" sz="1600" dirty="0">
                          <a:solidFill>
                            <a:schemeClr val="bg1">
                              <a:lumMod val="10000"/>
                            </a:schemeClr>
                          </a:solidFill>
                        </a:rPr>
                        <a:t>Fixed Component</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chemeClr val="accent2">
                        <a:lumMod val="20000"/>
                        <a:lumOff val="80000"/>
                      </a:schemeClr>
                    </a:solidFill>
                  </a:tcPr>
                </a:tc>
                <a:tc>
                  <a:txBody>
                    <a:bodyPr/>
                    <a:lstStyle/>
                    <a:p>
                      <a:pPr algn="r"/>
                      <a:r>
                        <a:rPr lang="en-US" sz="1600" dirty="0">
                          <a:solidFill>
                            <a:schemeClr val="bg1">
                              <a:lumMod val="10000"/>
                            </a:schemeClr>
                          </a:solidFill>
                        </a:rPr>
                        <a:t>6,00,000.00</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chemeClr val="accent2">
                        <a:lumMod val="20000"/>
                        <a:lumOff val="80000"/>
                      </a:schemeClr>
                    </a:solidFill>
                  </a:tcPr>
                </a:tc>
                <a:extLst>
                  <a:ext uri="{0D108BD9-81ED-4DB2-BD59-A6C34878D82A}">
                    <a16:rowId xmlns:a16="http://schemas.microsoft.com/office/drawing/2014/main" val="1409166984"/>
                  </a:ext>
                </a:extLst>
              </a:tr>
              <a:tr h="454412">
                <a:tc>
                  <a:txBody>
                    <a:bodyPr/>
                    <a:lstStyle/>
                    <a:p>
                      <a:r>
                        <a:rPr lang="en-US" sz="1600" dirty="0">
                          <a:solidFill>
                            <a:schemeClr val="bg1">
                              <a:lumMod val="10000"/>
                            </a:schemeClr>
                          </a:solidFill>
                        </a:rPr>
                        <a:t>Performance Bonus</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rgbClr val="FFFFFF"/>
                    </a:solidFill>
                  </a:tcPr>
                </a:tc>
                <a:tc>
                  <a:txBody>
                    <a:bodyPr/>
                    <a:lstStyle/>
                    <a:p>
                      <a:pPr algn="r"/>
                      <a:r>
                        <a:rPr lang="en-US" sz="1600" dirty="0">
                          <a:solidFill>
                            <a:schemeClr val="bg1">
                              <a:lumMod val="10000"/>
                            </a:schemeClr>
                          </a:solidFill>
                        </a:rPr>
                        <a:t>1,00,000.00</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rgbClr val="FFFFFF"/>
                    </a:solidFill>
                  </a:tcPr>
                </a:tc>
                <a:extLst>
                  <a:ext uri="{0D108BD9-81ED-4DB2-BD59-A6C34878D82A}">
                    <a16:rowId xmlns:a16="http://schemas.microsoft.com/office/drawing/2014/main" val="1538238702"/>
                  </a:ext>
                </a:extLst>
              </a:tr>
              <a:tr h="454412">
                <a:tc>
                  <a:txBody>
                    <a:bodyPr/>
                    <a:lstStyle/>
                    <a:p>
                      <a:r>
                        <a:rPr lang="en-US" sz="1600" dirty="0">
                          <a:solidFill>
                            <a:schemeClr val="bg1">
                              <a:lumMod val="10000"/>
                            </a:schemeClr>
                          </a:solidFill>
                        </a:rPr>
                        <a:t>Joining Bonus</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chemeClr val="accent2">
                        <a:lumMod val="20000"/>
                        <a:lumOff val="80000"/>
                      </a:schemeClr>
                    </a:solidFill>
                  </a:tcPr>
                </a:tc>
                <a:tc>
                  <a:txBody>
                    <a:bodyPr/>
                    <a:lstStyle/>
                    <a:p>
                      <a:pPr algn="r"/>
                      <a:r>
                        <a:rPr lang="en-US" sz="1600" dirty="0">
                          <a:solidFill>
                            <a:schemeClr val="bg1">
                              <a:lumMod val="10000"/>
                            </a:schemeClr>
                          </a:solidFill>
                        </a:rPr>
                        <a:t>50,000.00</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chemeClr val="accent2">
                        <a:lumMod val="20000"/>
                        <a:lumOff val="80000"/>
                      </a:schemeClr>
                    </a:solidFill>
                  </a:tcPr>
                </a:tc>
                <a:extLst>
                  <a:ext uri="{0D108BD9-81ED-4DB2-BD59-A6C34878D82A}">
                    <a16:rowId xmlns:a16="http://schemas.microsoft.com/office/drawing/2014/main" val="3613633055"/>
                  </a:ext>
                </a:extLst>
              </a:tr>
              <a:tr h="454412">
                <a:tc>
                  <a:txBody>
                    <a:bodyPr/>
                    <a:lstStyle/>
                    <a:p>
                      <a:r>
                        <a:rPr lang="en-US" sz="1600" dirty="0">
                          <a:solidFill>
                            <a:schemeClr val="bg1">
                              <a:lumMod val="10000"/>
                            </a:schemeClr>
                          </a:solidFill>
                        </a:rPr>
                        <a:t>Provident Fund </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rgbClr val="FFFFFF"/>
                    </a:solidFill>
                  </a:tcPr>
                </a:tc>
                <a:tc>
                  <a:txBody>
                    <a:bodyPr/>
                    <a:lstStyle/>
                    <a:p>
                      <a:pPr algn="r"/>
                      <a:r>
                        <a:rPr lang="en-US" sz="1600" dirty="0">
                          <a:solidFill>
                            <a:schemeClr val="bg1">
                              <a:lumMod val="10000"/>
                            </a:schemeClr>
                          </a:solidFill>
                        </a:rPr>
                        <a:t>21,600.00</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rgbClr val="FFFFFF"/>
                    </a:solidFill>
                  </a:tcPr>
                </a:tc>
                <a:extLst>
                  <a:ext uri="{0D108BD9-81ED-4DB2-BD59-A6C34878D82A}">
                    <a16:rowId xmlns:a16="http://schemas.microsoft.com/office/drawing/2014/main" val="2305380238"/>
                  </a:ext>
                </a:extLst>
              </a:tr>
              <a:tr h="454412">
                <a:tc>
                  <a:txBody>
                    <a:bodyPr/>
                    <a:lstStyle/>
                    <a:p>
                      <a:r>
                        <a:rPr lang="en-US" sz="1600" dirty="0">
                          <a:solidFill>
                            <a:schemeClr val="bg1">
                              <a:lumMod val="10000"/>
                            </a:schemeClr>
                          </a:solidFill>
                        </a:rPr>
                        <a:t>CTC </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chemeClr val="accent2">
                        <a:lumMod val="20000"/>
                        <a:lumOff val="80000"/>
                      </a:schemeClr>
                    </a:solidFill>
                  </a:tcPr>
                </a:tc>
                <a:tc>
                  <a:txBody>
                    <a:bodyPr/>
                    <a:lstStyle/>
                    <a:p>
                      <a:pPr algn="r"/>
                      <a:r>
                        <a:rPr lang="en-US" sz="1600" dirty="0">
                          <a:solidFill>
                            <a:schemeClr val="bg1">
                              <a:lumMod val="10000"/>
                            </a:schemeClr>
                          </a:solidFill>
                        </a:rPr>
                        <a:t>7,71,600.00</a:t>
                      </a:r>
                      <a:endParaRPr lang="en-US" sz="1600" dirty="0">
                        <a:solidFill>
                          <a:schemeClr val="bg1">
                            <a:lumMod val="10000"/>
                          </a:schemeClr>
                        </a:solidFill>
                        <a:latin typeface="Segoe UI" panose="020B0502040204020203" pitchFamily="34" charset="0"/>
                        <a:cs typeface="Segoe UI" panose="020B0502040204020203" pitchFamily="34" charset="0"/>
                      </a:endParaRPr>
                    </a:p>
                  </a:txBody>
                  <a:tcPr marL="100584" marR="100584" anchor="ctr">
                    <a:solidFill>
                      <a:schemeClr val="accent2">
                        <a:lumMod val="20000"/>
                        <a:lumOff val="80000"/>
                      </a:schemeClr>
                    </a:solidFill>
                  </a:tcPr>
                </a:tc>
                <a:extLst>
                  <a:ext uri="{0D108BD9-81ED-4DB2-BD59-A6C34878D82A}">
                    <a16:rowId xmlns:a16="http://schemas.microsoft.com/office/drawing/2014/main" val="3299136848"/>
                  </a:ext>
                </a:extLst>
              </a:tr>
            </a:tbl>
          </a:graphicData>
        </a:graphic>
      </p:graphicFrame>
      <p:sp>
        <p:nvSpPr>
          <p:cNvPr id="8" name="Rectangle 7">
            <a:extLst>
              <a:ext uri="{FF2B5EF4-FFF2-40B4-BE49-F238E27FC236}">
                <a16:creationId xmlns:a16="http://schemas.microsoft.com/office/drawing/2014/main" id="{3E84835E-A154-416E-91F5-06A0D56D6A74}"/>
              </a:ext>
            </a:extLst>
          </p:cNvPr>
          <p:cNvSpPr/>
          <p:nvPr/>
        </p:nvSpPr>
        <p:spPr>
          <a:xfrm>
            <a:off x="498053" y="4509704"/>
            <a:ext cx="10024629" cy="966162"/>
          </a:xfrm>
          <a:prstGeom prst="rect">
            <a:avLst/>
          </a:prstGeom>
        </p:spPr>
        <p:txBody>
          <a:bodyPr wrap="square">
            <a:spAutoFit/>
          </a:bodyPr>
          <a:lstStyle/>
          <a:p>
            <a:pPr marL="285750" indent="-285750">
              <a:lnSpc>
                <a:spcPct val="107000"/>
              </a:lnSpc>
              <a:spcAft>
                <a:spcPts val="800"/>
              </a:spcAft>
              <a:buFont typeface="Wingdings" panose="05000000000000000000" pitchFamily="2" charset="2"/>
              <a:buChar char="§"/>
              <a:tabLst>
                <a:tab pos="595630" algn="l"/>
              </a:tabLst>
            </a:pPr>
            <a:r>
              <a:rPr lang="en-IN" sz="1600" dirty="0">
                <a:latin typeface="+mj-lt"/>
                <a:ea typeface="Calibri" panose="020F0502020204030204" pitchFamily="34" charset="0"/>
                <a:cs typeface="Segoe UI" panose="020B0502040204020203" pitchFamily="34" charset="0"/>
              </a:rPr>
              <a:t>Additional Reimbursements for </a:t>
            </a:r>
            <a:r>
              <a:rPr lang="en-IN" sz="1600" b="1" dirty="0">
                <a:latin typeface="+mj-lt"/>
                <a:ea typeface="Calibri" panose="020F0502020204030204" pitchFamily="34" charset="0"/>
                <a:cs typeface="Segoe UI" panose="020B0502040204020203" pitchFamily="34" charset="0"/>
              </a:rPr>
              <a:t>Phone</a:t>
            </a:r>
            <a:r>
              <a:rPr lang="en-IN" sz="1600" dirty="0">
                <a:latin typeface="+mj-lt"/>
                <a:ea typeface="Calibri" panose="020F0502020204030204" pitchFamily="34" charset="0"/>
                <a:cs typeface="Segoe UI" panose="020B0502040204020203" pitchFamily="34" charset="0"/>
              </a:rPr>
              <a:t>, </a:t>
            </a:r>
            <a:r>
              <a:rPr lang="en-IN" sz="1600" b="1" dirty="0">
                <a:latin typeface="+mj-lt"/>
                <a:ea typeface="Calibri" panose="020F0502020204030204" pitchFamily="34" charset="0"/>
                <a:cs typeface="Segoe UI" panose="020B0502040204020203" pitchFamily="34" charset="0"/>
              </a:rPr>
              <a:t>Internet, Late night expenses</a:t>
            </a:r>
            <a:r>
              <a:rPr lang="en-IN" sz="1600" dirty="0">
                <a:latin typeface="+mj-lt"/>
                <a:ea typeface="Calibri" panose="020F0502020204030204" pitchFamily="34" charset="0"/>
                <a:cs typeface="Segoe UI" panose="020B0502040204020203" pitchFamily="34" charset="0"/>
              </a:rPr>
              <a:t> and </a:t>
            </a:r>
            <a:r>
              <a:rPr lang="en-IN" sz="1600" b="1" dirty="0">
                <a:latin typeface="+mj-lt"/>
                <a:ea typeface="Calibri" panose="020F0502020204030204" pitchFamily="34" charset="0"/>
                <a:cs typeface="Segoe UI" panose="020B0502040204020203" pitchFamily="34" charset="0"/>
              </a:rPr>
              <a:t>Learning Allowance</a:t>
            </a:r>
          </a:p>
          <a:p>
            <a:pPr marL="285750" indent="-285750">
              <a:lnSpc>
                <a:spcPct val="107000"/>
              </a:lnSpc>
              <a:spcAft>
                <a:spcPts val="800"/>
              </a:spcAft>
              <a:buFont typeface="Wingdings" panose="05000000000000000000" pitchFamily="2" charset="2"/>
              <a:buChar char="§"/>
              <a:tabLst>
                <a:tab pos="595630" algn="l"/>
              </a:tabLst>
            </a:pPr>
            <a:r>
              <a:rPr lang="en-IN" sz="1600" dirty="0">
                <a:latin typeface="+mj-lt"/>
                <a:ea typeface="Calibri" panose="020F0502020204030204" pitchFamily="34" charset="0"/>
                <a:cs typeface="Segoe UI" panose="020B0502040204020203" pitchFamily="34" charset="0"/>
              </a:rPr>
              <a:t>Annual Potential Performance Bonus will be as per the annual review policies set by the management and will be reflection of your individual as well as company performance</a:t>
            </a:r>
            <a:endParaRPr lang="en-US" sz="1600" dirty="0">
              <a:latin typeface="+mj-lt"/>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38430634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50" name="Google Shape;950;p50"/>
          <p:cNvSpPr txBox="1">
            <a:spLocks noGrp="1"/>
          </p:cNvSpPr>
          <p:nvPr>
            <p:ph type="sldNum" idx="12"/>
          </p:nvPr>
        </p:nvSpPr>
        <p:spPr>
          <a:xfrm>
            <a:off x="10660200" y="6352439"/>
            <a:ext cx="947600" cy="223229"/>
          </a:xfrm>
          <a:noFill/>
          <a:ln>
            <a:noFill/>
          </a:ln>
        </p:spPr>
        <p:txBody>
          <a:bodyPr spcFirstLastPara="1" wrap="square" lIns="91425" tIns="45700" rIns="0" bIns="45700" anchor="ctr" anchorCtr="0">
            <a:noAutofit/>
          </a:bodyPr>
          <a:lstStyle/>
          <a:p>
            <a:pPr lvl="0"/>
            <a:fld id="{00000000-1234-1234-1234-123412341234}" type="slidenum">
              <a:rPr lang="en-US">
                <a:sym typeface="Arial"/>
              </a:rPr>
              <a:pPr lvl="0"/>
              <a:t>14</a:t>
            </a:fld>
            <a:endParaRPr lang="en-US">
              <a:sym typeface="Arial"/>
            </a:endParaRPr>
          </a:p>
        </p:txBody>
      </p:sp>
      <p:sp>
        <p:nvSpPr>
          <p:cNvPr id="951" name="Google Shape;951;p50"/>
          <p:cNvSpPr txBox="1">
            <a:spLocks noGrp="1"/>
          </p:cNvSpPr>
          <p:nvPr>
            <p:ph type="body" idx="1"/>
          </p:nvPr>
        </p:nvSpPr>
        <p:spPr>
          <a:xfrm>
            <a:off x="606872" y="3368435"/>
            <a:ext cx="4886325" cy="914400"/>
          </a:xfrm>
          <a:noFill/>
          <a:ln>
            <a:noFill/>
          </a:ln>
        </p:spPr>
        <p:txBody>
          <a:bodyPr spcFirstLastPara="1" wrap="square" lIns="0" tIns="45700" rIns="91425" bIns="45700" anchor="t" anchorCtr="0">
            <a:noAutofit/>
          </a:bodyPr>
          <a:lstStyle/>
          <a:p>
            <a:pPr lvl="0"/>
            <a:r>
              <a:rPr lang="en-US" dirty="0">
                <a:solidFill>
                  <a:schemeClr val="bg1"/>
                </a:solidFill>
              </a:rPr>
              <a:t>THANK YOU</a:t>
            </a:r>
          </a:p>
        </p:txBody>
      </p:sp>
      <p:sp>
        <p:nvSpPr>
          <p:cNvPr id="956" name="Google Shape;956;p50"/>
          <p:cNvSpPr txBox="1"/>
          <p:nvPr/>
        </p:nvSpPr>
        <p:spPr>
          <a:xfrm>
            <a:off x="8431078" y="4153546"/>
            <a:ext cx="0" cy="0"/>
          </a:xfrm>
          <a:prstGeom prst="rect">
            <a:avLst/>
          </a:prstGeom>
          <a:noFill/>
          <a:ln>
            <a:noFill/>
          </a:ln>
        </p:spPr>
        <p:txBody>
          <a:bodyPr spcFirstLastPara="1" wrap="square" lIns="91425" tIns="45700" rIns="91425" bIns="45700" anchor="ctr" anchorCtr="0">
            <a:noAutofit/>
          </a:bodyPr>
          <a:lstStyle/>
          <a:p>
            <a:pPr marL="173038" marR="0" lvl="0" indent="-71438" algn="l" rtl="0">
              <a:lnSpc>
                <a:spcPct val="100000"/>
              </a:lnSpc>
              <a:spcBef>
                <a:spcPts val="0"/>
              </a:spcBef>
              <a:spcAft>
                <a:spcPts val="0"/>
              </a:spcAft>
              <a:buClr>
                <a:srgbClr val="000000"/>
              </a:buClr>
              <a:buSzPts val="1600"/>
              <a:buFont typeface="Arial"/>
              <a:buNone/>
            </a:pPr>
            <a:endParaRPr sz="1600" b="0" i="0" u="none" strike="noStrike" cap="none">
              <a:solidFill>
                <a:srgbClr val="333333"/>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6" name="Google Shape;126;p11"/>
          <p:cNvSpPr/>
          <p:nvPr/>
        </p:nvSpPr>
        <p:spPr>
          <a:xfrm>
            <a:off x="623888" y="836613"/>
            <a:ext cx="4229465" cy="5098564"/>
          </a:xfrm>
          <a:prstGeom prst="rect">
            <a:avLst/>
          </a:prstGeom>
          <a:solidFill>
            <a:srgbClr val="D7003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127" name="Google Shape;127;p11"/>
          <p:cNvSpPr txBox="1"/>
          <p:nvPr/>
        </p:nvSpPr>
        <p:spPr>
          <a:xfrm>
            <a:off x="1077469" y="2459504"/>
            <a:ext cx="3578649" cy="19389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6000"/>
              <a:buFont typeface="Arial"/>
              <a:buNone/>
            </a:pPr>
            <a:r>
              <a:rPr lang="en-US" sz="6000" b="0" i="0" u="none" strike="noStrike" cap="none" dirty="0">
                <a:solidFill>
                  <a:srgbClr val="F2F2F2"/>
                </a:solidFill>
                <a:latin typeface="Arial"/>
                <a:ea typeface="Arial"/>
                <a:cs typeface="Arial"/>
                <a:sym typeface="Arial"/>
              </a:rPr>
              <a:t>Table of </a:t>
            </a:r>
            <a:endParaRPr dirty="0"/>
          </a:p>
          <a:p>
            <a:pPr marL="0" marR="0" lvl="0" indent="0" algn="l" rtl="0">
              <a:lnSpc>
                <a:spcPct val="100000"/>
              </a:lnSpc>
              <a:spcBef>
                <a:spcPts val="0"/>
              </a:spcBef>
              <a:spcAft>
                <a:spcPts val="0"/>
              </a:spcAft>
              <a:buClr>
                <a:srgbClr val="000000"/>
              </a:buClr>
              <a:buSzPts val="6000"/>
              <a:buFont typeface="Arial"/>
              <a:buNone/>
            </a:pPr>
            <a:r>
              <a:rPr lang="en-US" sz="6000" b="0" i="0" u="none" strike="noStrike" cap="none" dirty="0">
                <a:solidFill>
                  <a:srgbClr val="F2F2F2"/>
                </a:solidFill>
                <a:latin typeface="Arial"/>
                <a:ea typeface="Arial"/>
                <a:cs typeface="Arial"/>
                <a:sym typeface="Arial"/>
              </a:rPr>
              <a:t>Contents</a:t>
            </a:r>
            <a:endParaRPr dirty="0"/>
          </a:p>
        </p:txBody>
      </p:sp>
      <p:sp>
        <p:nvSpPr>
          <p:cNvPr id="128" name="Google Shape;128;p11"/>
          <p:cNvSpPr txBox="1"/>
          <p:nvPr/>
        </p:nvSpPr>
        <p:spPr>
          <a:xfrm>
            <a:off x="5791008" y="760799"/>
            <a:ext cx="611065" cy="55399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000"/>
              <a:buFont typeface="Arial"/>
              <a:buNone/>
            </a:pPr>
            <a:r>
              <a:rPr lang="en-US" sz="3000" b="1" i="0" u="none" strike="noStrike" cap="none" dirty="0">
                <a:solidFill>
                  <a:srgbClr val="D70038"/>
                </a:solidFill>
                <a:latin typeface="Arial"/>
                <a:ea typeface="Arial"/>
                <a:cs typeface="Arial"/>
                <a:sym typeface="Arial"/>
              </a:rPr>
              <a:t>01</a:t>
            </a:r>
            <a:endParaRPr dirty="0">
              <a:solidFill>
                <a:srgbClr val="D70038"/>
              </a:solidFill>
            </a:endParaRPr>
          </a:p>
        </p:txBody>
      </p:sp>
      <p:sp>
        <p:nvSpPr>
          <p:cNvPr id="129" name="Google Shape;129;p11"/>
          <p:cNvSpPr txBox="1"/>
          <p:nvPr/>
        </p:nvSpPr>
        <p:spPr>
          <a:xfrm>
            <a:off x="5790467" y="1370780"/>
            <a:ext cx="611065" cy="55399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000"/>
              <a:buFont typeface="Arial"/>
              <a:buNone/>
            </a:pPr>
            <a:r>
              <a:rPr lang="en-US" sz="3000" b="1" i="0" u="none" strike="noStrike" cap="none" dirty="0">
                <a:solidFill>
                  <a:srgbClr val="D70038"/>
                </a:solidFill>
                <a:latin typeface="Arial"/>
                <a:ea typeface="Arial"/>
                <a:cs typeface="Arial"/>
                <a:sym typeface="Arial"/>
              </a:rPr>
              <a:t>02</a:t>
            </a:r>
            <a:endParaRPr dirty="0">
              <a:solidFill>
                <a:srgbClr val="D70038"/>
              </a:solidFill>
            </a:endParaRPr>
          </a:p>
        </p:txBody>
      </p:sp>
      <p:sp>
        <p:nvSpPr>
          <p:cNvPr id="132" name="Google Shape;132;p11"/>
          <p:cNvSpPr txBox="1"/>
          <p:nvPr/>
        </p:nvSpPr>
        <p:spPr>
          <a:xfrm>
            <a:off x="6687107" y="836613"/>
            <a:ext cx="3680369" cy="369291"/>
          </a:xfrm>
          <a:prstGeom prst="rect">
            <a:avLst/>
          </a:prstGeom>
          <a:noFill/>
          <a:ln>
            <a:noFill/>
          </a:ln>
        </p:spPr>
        <p:txBody>
          <a:bodyPr spcFirstLastPara="1" wrap="square" lIns="91425" tIns="45700" rIns="91425" bIns="45700" anchor="t" anchorCtr="0">
            <a:spAutoFit/>
          </a:bodyPr>
          <a:lstStyle/>
          <a:p>
            <a:r>
              <a:rPr lang="en-US" b="1" dirty="0">
                <a:solidFill>
                  <a:schemeClr val="bg1">
                    <a:lumMod val="10000"/>
                  </a:schemeClr>
                </a:solidFill>
                <a:latin typeface="+mj-lt"/>
                <a:cs typeface="Segoe UI" panose="020B0502040204020203" pitchFamily="34" charset="0"/>
              </a:rPr>
              <a:t>About Us</a:t>
            </a:r>
            <a:endParaRPr lang="en-US" dirty="0">
              <a:solidFill>
                <a:schemeClr val="bg1">
                  <a:lumMod val="10000"/>
                </a:schemeClr>
              </a:solidFill>
              <a:latin typeface="+mj-lt"/>
            </a:endParaRPr>
          </a:p>
        </p:txBody>
      </p:sp>
      <p:sp>
        <p:nvSpPr>
          <p:cNvPr id="149" name="Google Shape;149;p11"/>
          <p:cNvSpPr txBox="1">
            <a:spLocks noGrp="1"/>
          </p:cNvSpPr>
          <p:nvPr>
            <p:ph type="sldNum" idx="12"/>
          </p:nvPr>
        </p:nvSpPr>
        <p:spPr>
          <a:xfrm>
            <a:off x="10660200" y="6352439"/>
            <a:ext cx="947600" cy="223229"/>
          </a:xfrm>
          <a:prstGeom prst="rect">
            <a:avLst/>
          </a:prstGeom>
          <a:noFill/>
          <a:ln>
            <a:noFill/>
          </a:ln>
        </p:spPr>
        <p:txBody>
          <a:bodyPr spcFirstLastPara="1" wrap="square" lIns="91425" tIns="45700" rIns="0"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100" b="1"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Helvetica Neue"/>
              </a:defRPr>
            </a:lvl1pPr>
            <a:lvl2pPr marL="0" marR="0" lvl="1"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2pPr>
            <a:lvl3pPr marL="0" marR="0" lvl="2"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3pPr>
            <a:lvl4pPr marL="0" marR="0" lvl="3"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4pPr>
            <a:lvl5pPr marL="0" marR="0" lvl="4"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5pPr>
            <a:lvl6pPr marL="0" marR="0" lvl="5"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6pPr>
            <a:lvl7pPr marL="0" marR="0" lvl="6"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7pPr>
            <a:lvl8pPr marL="0" marR="0" lvl="7"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8pPr>
            <a:lvl9pPr marL="0" marR="0" lvl="8"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9pPr>
          </a:lstStyle>
          <a:p>
            <a:pPr lvl="0"/>
            <a:fld id="{00000000-1234-1234-1234-123412341234}" type="slidenum">
              <a:rPr lang="en-US" smtClean="0"/>
              <a:pPr lvl="0"/>
              <a:t>2</a:t>
            </a:fld>
            <a:endParaRPr lang="en-US">
              <a:sym typeface="Helvetica Neue"/>
            </a:endParaRPr>
          </a:p>
        </p:txBody>
      </p:sp>
      <p:sp>
        <p:nvSpPr>
          <p:cNvPr id="2" name="Rectangle 1">
            <a:extLst>
              <a:ext uri="{FF2B5EF4-FFF2-40B4-BE49-F238E27FC236}">
                <a16:creationId xmlns:a16="http://schemas.microsoft.com/office/drawing/2014/main" id="{E354429B-3E5D-4EE5-BB6D-BB20AFF61904}"/>
              </a:ext>
            </a:extLst>
          </p:cNvPr>
          <p:cNvSpPr/>
          <p:nvPr/>
        </p:nvSpPr>
        <p:spPr>
          <a:xfrm>
            <a:off x="623888" y="836614"/>
            <a:ext cx="4229464" cy="111925"/>
          </a:xfrm>
          <a:prstGeom prst="rect">
            <a:avLst/>
          </a:prstGeom>
          <a:solidFill>
            <a:srgbClr val="51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B0F0"/>
              </a:solidFill>
            </a:endParaRPr>
          </a:p>
        </p:txBody>
      </p:sp>
      <p:sp>
        <p:nvSpPr>
          <p:cNvPr id="24" name="Rectangle 23">
            <a:extLst>
              <a:ext uri="{FF2B5EF4-FFF2-40B4-BE49-F238E27FC236}">
                <a16:creationId xmlns:a16="http://schemas.microsoft.com/office/drawing/2014/main" id="{3ADCD382-3394-4092-96E7-B8A3BBE8B46A}"/>
              </a:ext>
            </a:extLst>
          </p:cNvPr>
          <p:cNvSpPr/>
          <p:nvPr/>
        </p:nvSpPr>
        <p:spPr>
          <a:xfrm>
            <a:off x="623888" y="5823252"/>
            <a:ext cx="4229464" cy="111925"/>
          </a:xfrm>
          <a:prstGeom prst="rect">
            <a:avLst/>
          </a:prstGeom>
          <a:solidFill>
            <a:srgbClr val="51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Google Shape;132;p11">
            <a:extLst>
              <a:ext uri="{FF2B5EF4-FFF2-40B4-BE49-F238E27FC236}">
                <a16:creationId xmlns:a16="http://schemas.microsoft.com/office/drawing/2014/main" id="{AAA53B41-DAC9-4D83-AB40-F7CD4C94D523}"/>
              </a:ext>
            </a:extLst>
          </p:cNvPr>
          <p:cNvSpPr txBox="1"/>
          <p:nvPr/>
        </p:nvSpPr>
        <p:spPr>
          <a:xfrm>
            <a:off x="6687108" y="1448529"/>
            <a:ext cx="3680369" cy="369291"/>
          </a:xfrm>
          <a:prstGeom prst="rect">
            <a:avLst/>
          </a:prstGeom>
          <a:noFill/>
          <a:ln>
            <a:noFill/>
          </a:ln>
        </p:spPr>
        <p:txBody>
          <a:bodyPr spcFirstLastPara="1" wrap="square" lIns="91425" tIns="45700" rIns="91425" bIns="45700" anchor="t" anchorCtr="0">
            <a:spAutoFit/>
          </a:bodyPr>
          <a:lstStyle/>
          <a:p>
            <a:r>
              <a:rPr lang="en-US" b="1" dirty="0">
                <a:latin typeface="+mj-lt"/>
              </a:rPr>
              <a:t>Working With Us</a:t>
            </a:r>
          </a:p>
        </p:txBody>
      </p:sp>
      <p:sp>
        <p:nvSpPr>
          <p:cNvPr id="12" name="Google Shape;129;p11">
            <a:extLst>
              <a:ext uri="{FF2B5EF4-FFF2-40B4-BE49-F238E27FC236}">
                <a16:creationId xmlns:a16="http://schemas.microsoft.com/office/drawing/2014/main" id="{0DE5057D-681B-4E40-930C-31EE45B05816}"/>
              </a:ext>
            </a:extLst>
          </p:cNvPr>
          <p:cNvSpPr txBox="1"/>
          <p:nvPr/>
        </p:nvSpPr>
        <p:spPr>
          <a:xfrm>
            <a:off x="5790466" y="1948479"/>
            <a:ext cx="611065" cy="55399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000"/>
              <a:buFont typeface="Arial"/>
              <a:buNone/>
            </a:pPr>
            <a:r>
              <a:rPr lang="en-US" sz="3000" b="1" i="0" u="none" strike="noStrike" cap="none" dirty="0">
                <a:solidFill>
                  <a:srgbClr val="D70038"/>
                </a:solidFill>
                <a:latin typeface="Arial"/>
                <a:ea typeface="Arial"/>
                <a:cs typeface="Arial"/>
                <a:sym typeface="Arial"/>
              </a:rPr>
              <a:t>03</a:t>
            </a:r>
            <a:endParaRPr dirty="0">
              <a:solidFill>
                <a:srgbClr val="D70038"/>
              </a:solidFill>
            </a:endParaRPr>
          </a:p>
        </p:txBody>
      </p:sp>
      <p:sp>
        <p:nvSpPr>
          <p:cNvPr id="13" name="Google Shape;132;p11">
            <a:extLst>
              <a:ext uri="{FF2B5EF4-FFF2-40B4-BE49-F238E27FC236}">
                <a16:creationId xmlns:a16="http://schemas.microsoft.com/office/drawing/2014/main" id="{557B2673-534D-4777-BF02-E45513D558A0}"/>
              </a:ext>
            </a:extLst>
          </p:cNvPr>
          <p:cNvSpPr txBox="1"/>
          <p:nvPr/>
        </p:nvSpPr>
        <p:spPr>
          <a:xfrm>
            <a:off x="6687107" y="2026228"/>
            <a:ext cx="3680369" cy="369291"/>
          </a:xfrm>
          <a:prstGeom prst="rect">
            <a:avLst/>
          </a:prstGeom>
          <a:noFill/>
          <a:ln>
            <a:noFill/>
          </a:ln>
        </p:spPr>
        <p:txBody>
          <a:bodyPr spcFirstLastPara="1" wrap="square" lIns="91425" tIns="45700" rIns="91425" bIns="45700" anchor="t" anchorCtr="0">
            <a:spAutoFit/>
          </a:bodyPr>
          <a:lstStyle/>
          <a:p>
            <a:r>
              <a:rPr lang="en-US" b="1" dirty="0">
                <a:latin typeface="+mj-lt"/>
              </a:rPr>
              <a:t>Our Process</a:t>
            </a:r>
          </a:p>
        </p:txBody>
      </p:sp>
      <p:cxnSp>
        <p:nvCxnSpPr>
          <p:cNvPr id="28" name="Google Shape;140;p11">
            <a:extLst>
              <a:ext uri="{FF2B5EF4-FFF2-40B4-BE49-F238E27FC236}">
                <a16:creationId xmlns:a16="http://schemas.microsoft.com/office/drawing/2014/main" id="{BF0AFD8F-4040-4ACF-A580-46453138D13C}"/>
              </a:ext>
            </a:extLst>
          </p:cNvPr>
          <p:cNvCxnSpPr/>
          <p:nvPr/>
        </p:nvCxnSpPr>
        <p:spPr>
          <a:xfrm>
            <a:off x="6504976" y="859860"/>
            <a:ext cx="0" cy="5111750"/>
          </a:xfrm>
          <a:prstGeom prst="straightConnector1">
            <a:avLst/>
          </a:prstGeom>
          <a:noFill/>
          <a:ln w="28575" cap="flat" cmpd="sng">
            <a:solidFill>
              <a:srgbClr val="D90039"/>
            </a:solidFill>
            <a:prstDash val="solid"/>
            <a:round/>
            <a:headEnd type="none" w="sm" len="sm"/>
            <a:tailEnd type="none" w="sm" len="sm"/>
          </a:ln>
        </p:spPr>
      </p:cxnSp>
    </p:spTree>
    <p:extLst>
      <p:ext uri="{BB962C8B-B14F-4D97-AF65-F5344CB8AC3E}">
        <p14:creationId xmlns:p14="http://schemas.microsoft.com/office/powerpoint/2010/main" val="1622628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8" name="Google Shape;488;p29"/>
          <p:cNvSpPr txBox="1">
            <a:spLocks noGrp="1"/>
          </p:cNvSpPr>
          <p:nvPr>
            <p:ph type="sldNum" idx="12"/>
          </p:nvPr>
        </p:nvSpPr>
        <p:spPr>
          <a:xfrm>
            <a:off x="10660200" y="6352439"/>
            <a:ext cx="947600" cy="223229"/>
          </a:xfrm>
          <a:prstGeom prst="rect">
            <a:avLst/>
          </a:prstGeom>
          <a:noFill/>
          <a:ln>
            <a:noFill/>
          </a:ln>
        </p:spPr>
        <p:txBody>
          <a:bodyPr spcFirstLastPara="1" wrap="square" lIns="91425" tIns="45700" rIns="0"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100" b="1"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Helvetica Neue"/>
              </a:defRPr>
            </a:lvl1pPr>
            <a:lvl2pPr marL="0" marR="0" lvl="1"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2pPr>
            <a:lvl3pPr marL="0" marR="0" lvl="2"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3pPr>
            <a:lvl4pPr marL="0" marR="0" lvl="3"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4pPr>
            <a:lvl5pPr marL="0" marR="0" lvl="4"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5pPr>
            <a:lvl6pPr marL="0" marR="0" lvl="5"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6pPr>
            <a:lvl7pPr marL="0" marR="0" lvl="6"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7pPr>
            <a:lvl8pPr marL="0" marR="0" lvl="7"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8pPr>
            <a:lvl9pPr marL="0" marR="0" lvl="8" indent="0" algn="r" rtl="0">
              <a:lnSpc>
                <a:spcPct val="100000"/>
              </a:lnSpc>
              <a:spcBef>
                <a:spcPts val="0"/>
              </a:spcBef>
              <a:spcAft>
                <a:spcPts val="0"/>
              </a:spcAft>
              <a:buClr>
                <a:srgbClr val="000000"/>
              </a:buClr>
              <a:buFont typeface="Arial"/>
              <a:buNone/>
              <a:defRPr sz="1100" b="1" i="0" u="none" strike="noStrike" cap="none">
                <a:solidFill>
                  <a:schemeClr val="dk1"/>
                </a:solidFill>
                <a:latin typeface="Helvetica Neue"/>
                <a:ea typeface="Helvetica Neue"/>
                <a:cs typeface="Helvetica Neue"/>
                <a:sym typeface="Helvetica Neue"/>
              </a:defRPr>
            </a:lvl9pPr>
          </a:lstStyle>
          <a:p>
            <a:pPr lvl="0"/>
            <a:fld id="{00000000-1234-1234-1234-123412341234}" type="slidenum">
              <a:rPr lang="en-US" smtClean="0"/>
              <a:pPr lvl="0"/>
              <a:t>3</a:t>
            </a:fld>
            <a:endParaRPr lang="en-US">
              <a:sym typeface="Arial"/>
            </a:endParaRPr>
          </a:p>
        </p:txBody>
      </p:sp>
      <p:grpSp>
        <p:nvGrpSpPr>
          <p:cNvPr id="12" name="Group 11">
            <a:extLst>
              <a:ext uri="{FF2B5EF4-FFF2-40B4-BE49-F238E27FC236}">
                <a16:creationId xmlns:a16="http://schemas.microsoft.com/office/drawing/2014/main" id="{E272A9AA-1198-46B7-A0BE-E3C33EB6D56D}"/>
              </a:ext>
            </a:extLst>
          </p:cNvPr>
          <p:cNvGrpSpPr/>
          <p:nvPr/>
        </p:nvGrpSpPr>
        <p:grpSpPr>
          <a:xfrm>
            <a:off x="610727" y="1393794"/>
            <a:ext cx="9738747" cy="4561271"/>
            <a:chOff x="921453" y="912890"/>
            <a:chExt cx="9811654" cy="5042175"/>
          </a:xfrm>
        </p:grpSpPr>
        <p:pic>
          <p:nvPicPr>
            <p:cNvPr id="10" name="Picture 9" descr="A picture containing shape&#10;&#10;Description automatically generated">
              <a:extLst>
                <a:ext uri="{FF2B5EF4-FFF2-40B4-BE49-F238E27FC236}">
                  <a16:creationId xmlns:a16="http://schemas.microsoft.com/office/drawing/2014/main" id="{F5D8AC42-D1DC-4C1B-AA4D-E8C4C5D600CE}"/>
                </a:ext>
              </a:extLst>
            </p:cNvPr>
            <p:cNvPicPr>
              <a:picLocks noChangeAspect="1"/>
            </p:cNvPicPr>
            <p:nvPr/>
          </p:nvPicPr>
          <p:blipFill>
            <a:blip r:embed="rId3"/>
            <a:stretch>
              <a:fillRect/>
            </a:stretch>
          </p:blipFill>
          <p:spPr>
            <a:xfrm>
              <a:off x="2200970" y="1056165"/>
              <a:ext cx="8080787" cy="4898900"/>
            </a:xfrm>
            <a:prstGeom prst="rect">
              <a:avLst/>
            </a:prstGeom>
          </p:spPr>
        </p:pic>
        <p:sp>
          <p:nvSpPr>
            <p:cNvPr id="551" name="Google Shape;551;p29"/>
            <p:cNvSpPr txBox="1"/>
            <p:nvPr/>
          </p:nvSpPr>
          <p:spPr>
            <a:xfrm>
              <a:off x="2283832" y="2455563"/>
              <a:ext cx="1736353" cy="56215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D70038"/>
                </a:buClr>
                <a:buSzPts val="2800"/>
                <a:buFont typeface="Arial"/>
                <a:buNone/>
              </a:pPr>
              <a:r>
                <a:rPr lang="en-US" sz="2800" b="1" i="0" u="none" strike="noStrike" cap="none" dirty="0">
                  <a:solidFill>
                    <a:srgbClr val="D70038"/>
                  </a:solidFill>
                  <a:latin typeface="Arial"/>
                  <a:ea typeface="Arial"/>
                  <a:cs typeface="Arial"/>
                  <a:sym typeface="Arial"/>
                </a:rPr>
                <a:t>80+</a:t>
              </a:r>
              <a:endParaRPr dirty="0"/>
            </a:p>
            <a:p>
              <a:pPr marL="0" marR="0" lvl="0" indent="0" algn="l" rtl="0">
                <a:lnSpc>
                  <a:spcPct val="100000"/>
                </a:lnSpc>
                <a:spcBef>
                  <a:spcPts val="0"/>
                </a:spcBef>
                <a:spcAft>
                  <a:spcPts val="0"/>
                </a:spcAft>
                <a:buClr>
                  <a:srgbClr val="3F3F3F"/>
                </a:buClr>
                <a:buSzPts val="1200"/>
                <a:buFont typeface="Arial"/>
                <a:buNone/>
              </a:pPr>
              <a:r>
                <a:rPr lang="en-US" sz="1200" b="0" i="0" u="none" strike="noStrike" cap="none" dirty="0">
                  <a:solidFill>
                    <a:srgbClr val="3F3F3F"/>
                  </a:solidFill>
                  <a:latin typeface="Arial"/>
                  <a:ea typeface="Arial"/>
                  <a:cs typeface="Arial"/>
                  <a:sym typeface="Arial"/>
                </a:rPr>
                <a:t>PROJECTS DELIVERED</a:t>
              </a:r>
              <a:endParaRPr dirty="0"/>
            </a:p>
          </p:txBody>
        </p:sp>
        <p:sp>
          <p:nvSpPr>
            <p:cNvPr id="502" name="Google Shape;502;p29"/>
            <p:cNvSpPr txBox="1"/>
            <p:nvPr/>
          </p:nvSpPr>
          <p:spPr>
            <a:xfrm>
              <a:off x="921453" y="950734"/>
              <a:ext cx="1013647" cy="562157"/>
            </a:xfrm>
            <a:prstGeom prst="rect">
              <a:avLst/>
            </a:prstGeom>
            <a:noFill/>
            <a:ln>
              <a:noFill/>
            </a:ln>
          </p:spPr>
          <p:txBody>
            <a:bodyPr spcFirstLastPara="1" wrap="square" lIns="0" tIns="0" rIns="0" bIns="0" anchor="ctr" anchorCtr="0">
              <a:spAutoFit/>
            </a:bodyPr>
            <a:lstStyle/>
            <a:p>
              <a:pPr marL="0" marR="0" lvl="0" indent="0" algn="r" rtl="0">
                <a:lnSpc>
                  <a:spcPct val="90000"/>
                </a:lnSpc>
                <a:spcBef>
                  <a:spcPts val="0"/>
                </a:spcBef>
                <a:spcAft>
                  <a:spcPts val="0"/>
                </a:spcAft>
                <a:buClr>
                  <a:srgbClr val="D70038"/>
                </a:buClr>
                <a:buSzPts val="2800"/>
                <a:buFont typeface="Arial"/>
                <a:buNone/>
              </a:pPr>
              <a:r>
                <a:rPr lang="en-US" sz="2800" b="1" i="0" u="none" strike="noStrike" cap="none" dirty="0">
                  <a:solidFill>
                    <a:srgbClr val="D70038"/>
                  </a:solidFill>
                  <a:latin typeface="Arial"/>
                  <a:ea typeface="Arial"/>
                  <a:cs typeface="Arial"/>
                  <a:sym typeface="Arial"/>
                </a:rPr>
                <a:t>2014</a:t>
              </a:r>
              <a:endParaRPr dirty="0"/>
            </a:p>
            <a:p>
              <a:pPr marL="0" marR="0" lvl="0" indent="0" algn="l" rtl="0">
                <a:lnSpc>
                  <a:spcPct val="100000"/>
                </a:lnSpc>
                <a:spcBef>
                  <a:spcPts val="0"/>
                </a:spcBef>
                <a:spcAft>
                  <a:spcPts val="0"/>
                </a:spcAft>
                <a:buClr>
                  <a:srgbClr val="3F3F3F"/>
                </a:buClr>
                <a:buSzPts val="1200"/>
                <a:buFont typeface="Arial"/>
                <a:buNone/>
              </a:pPr>
              <a:r>
                <a:rPr lang="en-US" sz="1200" b="0" i="0" u="none" strike="noStrike" cap="none" dirty="0">
                  <a:solidFill>
                    <a:srgbClr val="3F3F3F"/>
                  </a:solidFill>
                  <a:latin typeface="Arial"/>
                  <a:ea typeface="Arial"/>
                  <a:cs typeface="Arial"/>
                  <a:sym typeface="Arial"/>
                </a:rPr>
                <a:t>WE STARTED </a:t>
              </a:r>
              <a:endParaRPr dirty="0"/>
            </a:p>
          </p:txBody>
        </p:sp>
        <p:grpSp>
          <p:nvGrpSpPr>
            <p:cNvPr id="538" name="Google Shape;538;p29"/>
            <p:cNvGrpSpPr/>
            <p:nvPr/>
          </p:nvGrpSpPr>
          <p:grpSpPr>
            <a:xfrm>
              <a:off x="2022404" y="912890"/>
              <a:ext cx="466313" cy="608234"/>
              <a:chOff x="6287822" y="2018102"/>
              <a:chExt cx="1020325" cy="1328443"/>
            </a:xfrm>
          </p:grpSpPr>
          <p:sp>
            <p:nvSpPr>
              <p:cNvPr id="539" name="Google Shape;539;p29"/>
              <p:cNvSpPr/>
              <p:nvPr/>
            </p:nvSpPr>
            <p:spPr>
              <a:xfrm rot="8100000">
                <a:off x="6287822" y="2018102"/>
                <a:ext cx="1020325" cy="1020323"/>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40" name="Google Shape;540;p29"/>
              <p:cNvGrpSpPr/>
              <p:nvPr/>
            </p:nvGrpSpPr>
            <p:grpSpPr>
              <a:xfrm>
                <a:off x="6452739" y="2195287"/>
                <a:ext cx="719803" cy="1151258"/>
                <a:chOff x="6452739" y="2195287"/>
                <a:chExt cx="719803" cy="1151258"/>
              </a:xfrm>
            </p:grpSpPr>
            <p:sp>
              <p:nvSpPr>
                <p:cNvPr id="541" name="Google Shape;541;p29"/>
                <p:cNvSpPr/>
                <p:nvPr/>
              </p:nvSpPr>
              <p:spPr>
                <a:xfrm>
                  <a:off x="6452739" y="3165086"/>
                  <a:ext cx="719803" cy="181459"/>
                </a:xfrm>
                <a:prstGeom prst="ellipse">
                  <a:avLst/>
                </a:prstGeom>
                <a:gradFill>
                  <a:gsLst>
                    <a:gs pos="0">
                      <a:srgbClr val="727272">
                        <a:alpha val="26666"/>
                      </a:srgbClr>
                    </a:gs>
                    <a:gs pos="100000">
                      <a:srgbClr val="727272">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42" name="Google Shape;542;p29"/>
                <p:cNvSpPr/>
                <p:nvPr/>
              </p:nvSpPr>
              <p:spPr>
                <a:xfrm>
                  <a:off x="6465008" y="2195287"/>
                  <a:ext cx="665953" cy="66595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43" name="Google Shape;543;p29"/>
                <p:cNvGrpSpPr/>
                <p:nvPr/>
              </p:nvGrpSpPr>
              <p:grpSpPr>
                <a:xfrm>
                  <a:off x="6635574" y="2364949"/>
                  <a:ext cx="324820" cy="326626"/>
                  <a:chOff x="10455275" y="2498725"/>
                  <a:chExt cx="285750" cy="287338"/>
                </a:xfrm>
              </p:grpSpPr>
              <p:sp>
                <p:nvSpPr>
                  <p:cNvPr id="544" name="Google Shape;544;p29"/>
                  <p:cNvSpPr/>
                  <p:nvPr/>
                </p:nvSpPr>
                <p:spPr>
                  <a:xfrm>
                    <a:off x="10455275" y="2593975"/>
                    <a:ext cx="285750" cy="192088"/>
                  </a:xfrm>
                  <a:custGeom>
                    <a:avLst/>
                    <a:gdLst/>
                    <a:ahLst/>
                    <a:cxnLst/>
                    <a:rect l="l" t="t" r="r" b="b"/>
                    <a:pathLst>
                      <a:path w="903" h="601" extrusionOk="0">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sp>
                <p:nvSpPr>
                  <p:cNvPr id="545" name="Google Shape;545;p29"/>
                  <p:cNvSpPr/>
                  <p:nvPr/>
                </p:nvSpPr>
                <p:spPr>
                  <a:xfrm>
                    <a:off x="10474325" y="2498725"/>
                    <a:ext cx="252413" cy="157163"/>
                  </a:xfrm>
                  <a:custGeom>
                    <a:avLst/>
                    <a:gdLst/>
                    <a:ahLst/>
                    <a:cxnLst/>
                    <a:rect l="l" t="t" r="r" b="b"/>
                    <a:pathLst>
                      <a:path w="796" h="496" extrusionOk="0">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grpSp>
          </p:grpSp>
        </p:grpSp>
        <p:sp>
          <p:nvSpPr>
            <p:cNvPr id="520" name="Google Shape;520;p29"/>
            <p:cNvSpPr txBox="1"/>
            <p:nvPr/>
          </p:nvSpPr>
          <p:spPr>
            <a:xfrm>
              <a:off x="7731040" y="4727797"/>
              <a:ext cx="1876143" cy="632820"/>
            </a:xfrm>
            <a:prstGeom prst="rect">
              <a:avLst/>
            </a:prstGeom>
            <a:noFill/>
            <a:ln>
              <a:noFill/>
            </a:ln>
          </p:spPr>
          <p:txBody>
            <a:bodyPr spcFirstLastPara="1" wrap="square" lIns="0" tIns="0" rIns="0" bIns="0" anchor="ctr" anchorCtr="0">
              <a:spAutoFit/>
            </a:bodyPr>
            <a:lstStyle/>
            <a:p>
              <a:pPr marL="0" marR="0" lvl="0" indent="0" algn="r" rtl="0">
                <a:lnSpc>
                  <a:spcPct val="90000"/>
                </a:lnSpc>
                <a:spcBef>
                  <a:spcPts val="0"/>
                </a:spcBef>
                <a:spcAft>
                  <a:spcPts val="0"/>
                </a:spcAft>
                <a:buClr>
                  <a:srgbClr val="D70038"/>
                </a:buClr>
                <a:buSzPts val="2800"/>
                <a:buFont typeface="Arial"/>
                <a:buNone/>
              </a:pPr>
              <a:r>
                <a:rPr lang="en-US" sz="2800" b="1" i="0" u="none" strike="noStrike" cap="none" dirty="0">
                  <a:solidFill>
                    <a:srgbClr val="D70038"/>
                  </a:solidFill>
                  <a:latin typeface="Arial"/>
                  <a:ea typeface="Arial"/>
                  <a:cs typeface="Arial"/>
                  <a:sym typeface="Arial"/>
                </a:rPr>
                <a:t>2+</a:t>
              </a:r>
              <a:endParaRPr dirty="0"/>
            </a:p>
            <a:p>
              <a:pPr marL="0" marR="0" lvl="0" indent="0" algn="r" rtl="0">
                <a:lnSpc>
                  <a:spcPct val="100000"/>
                </a:lnSpc>
                <a:spcBef>
                  <a:spcPts val="0"/>
                </a:spcBef>
                <a:spcAft>
                  <a:spcPts val="0"/>
                </a:spcAft>
                <a:buClr>
                  <a:srgbClr val="3F3F3F"/>
                </a:buClr>
                <a:buSzPts val="1200"/>
                <a:buFont typeface="Arial"/>
                <a:buNone/>
              </a:pPr>
              <a:r>
                <a:rPr lang="en-US" sz="1200" b="0" i="0" u="none" strike="noStrike" cap="none" dirty="0">
                  <a:solidFill>
                    <a:srgbClr val="3F3F3F"/>
                  </a:solidFill>
                  <a:latin typeface="Arial"/>
                  <a:ea typeface="Arial"/>
                  <a:cs typeface="Arial"/>
                  <a:sym typeface="Arial"/>
                </a:rPr>
                <a:t>INDUSTRIES WE SERVE </a:t>
              </a:r>
              <a:endParaRPr dirty="0"/>
            </a:p>
          </p:txBody>
        </p:sp>
        <p:grpSp>
          <p:nvGrpSpPr>
            <p:cNvPr id="530" name="Google Shape;530;p29"/>
            <p:cNvGrpSpPr/>
            <p:nvPr/>
          </p:nvGrpSpPr>
          <p:grpSpPr>
            <a:xfrm>
              <a:off x="9564824" y="4469998"/>
              <a:ext cx="1168283" cy="1248926"/>
              <a:chOff x="6076506" y="1806785"/>
              <a:chExt cx="1442956" cy="1539760"/>
            </a:xfrm>
          </p:grpSpPr>
          <p:sp>
            <p:nvSpPr>
              <p:cNvPr id="531" name="Google Shape;531;p29"/>
              <p:cNvSpPr/>
              <p:nvPr/>
            </p:nvSpPr>
            <p:spPr>
              <a:xfrm rot="8100000">
                <a:off x="6287822" y="2018102"/>
                <a:ext cx="1020325" cy="1020323"/>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32" name="Google Shape;532;p29"/>
              <p:cNvGrpSpPr/>
              <p:nvPr/>
            </p:nvGrpSpPr>
            <p:grpSpPr>
              <a:xfrm>
                <a:off x="6452739" y="2195287"/>
                <a:ext cx="719803" cy="1151258"/>
                <a:chOff x="6452739" y="2195287"/>
                <a:chExt cx="719803" cy="1151258"/>
              </a:xfrm>
            </p:grpSpPr>
            <p:sp>
              <p:nvSpPr>
                <p:cNvPr id="533" name="Google Shape;533;p29"/>
                <p:cNvSpPr/>
                <p:nvPr/>
              </p:nvSpPr>
              <p:spPr>
                <a:xfrm>
                  <a:off x="6452739" y="3165086"/>
                  <a:ext cx="719803" cy="181459"/>
                </a:xfrm>
                <a:prstGeom prst="ellipse">
                  <a:avLst/>
                </a:prstGeom>
                <a:gradFill>
                  <a:gsLst>
                    <a:gs pos="0">
                      <a:srgbClr val="727272">
                        <a:alpha val="26666"/>
                      </a:srgbClr>
                    </a:gs>
                    <a:gs pos="100000">
                      <a:srgbClr val="727272">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34" name="Google Shape;534;p29"/>
                <p:cNvSpPr/>
                <p:nvPr/>
              </p:nvSpPr>
              <p:spPr>
                <a:xfrm>
                  <a:off x="6465008" y="2195287"/>
                  <a:ext cx="665953" cy="66595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35" name="Google Shape;535;p29"/>
                <p:cNvGrpSpPr/>
                <p:nvPr/>
              </p:nvGrpSpPr>
              <p:grpSpPr>
                <a:xfrm>
                  <a:off x="6635574" y="2364949"/>
                  <a:ext cx="324820" cy="326626"/>
                  <a:chOff x="10455275" y="2498725"/>
                  <a:chExt cx="285750" cy="287338"/>
                </a:xfrm>
              </p:grpSpPr>
              <p:sp>
                <p:nvSpPr>
                  <p:cNvPr id="536" name="Google Shape;536;p29"/>
                  <p:cNvSpPr/>
                  <p:nvPr/>
                </p:nvSpPr>
                <p:spPr>
                  <a:xfrm>
                    <a:off x="10455275" y="2593975"/>
                    <a:ext cx="285750" cy="192088"/>
                  </a:xfrm>
                  <a:custGeom>
                    <a:avLst/>
                    <a:gdLst/>
                    <a:ahLst/>
                    <a:cxnLst/>
                    <a:rect l="l" t="t" r="r" b="b"/>
                    <a:pathLst>
                      <a:path w="903" h="601" extrusionOk="0">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sp>
                <p:nvSpPr>
                  <p:cNvPr id="537" name="Google Shape;537;p29"/>
                  <p:cNvSpPr/>
                  <p:nvPr/>
                </p:nvSpPr>
                <p:spPr>
                  <a:xfrm>
                    <a:off x="10474325" y="2498725"/>
                    <a:ext cx="252413" cy="157163"/>
                  </a:xfrm>
                  <a:custGeom>
                    <a:avLst/>
                    <a:gdLst/>
                    <a:ahLst/>
                    <a:cxnLst/>
                    <a:rect l="l" t="t" r="r" b="b"/>
                    <a:pathLst>
                      <a:path w="796" h="496" extrusionOk="0">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grpSp>
          </p:grpSp>
        </p:grpSp>
        <p:pic>
          <p:nvPicPr>
            <p:cNvPr id="546" name="Google Shape;546;p29" descr="Factory"/>
            <p:cNvPicPr preferRelativeResize="0"/>
            <p:nvPr/>
          </p:nvPicPr>
          <p:blipFill rotWithShape="1">
            <a:blip r:embed="rId4">
              <a:alphaModFix/>
            </a:blip>
            <a:srcRect/>
            <a:stretch/>
          </p:blipFill>
          <p:spPr>
            <a:xfrm>
              <a:off x="8708813" y="4727037"/>
              <a:ext cx="410516" cy="346746"/>
            </a:xfrm>
            <a:prstGeom prst="rect">
              <a:avLst/>
            </a:prstGeom>
            <a:noFill/>
            <a:ln>
              <a:noFill/>
            </a:ln>
          </p:spPr>
        </p:pic>
        <p:sp>
          <p:nvSpPr>
            <p:cNvPr id="493" name="Google Shape;493;p29"/>
            <p:cNvSpPr txBox="1"/>
            <p:nvPr/>
          </p:nvSpPr>
          <p:spPr>
            <a:xfrm>
              <a:off x="4698812" y="1020586"/>
              <a:ext cx="1376295" cy="562157"/>
            </a:xfrm>
            <a:prstGeom prst="rect">
              <a:avLst/>
            </a:prstGeom>
            <a:noFill/>
            <a:ln>
              <a:noFill/>
            </a:ln>
          </p:spPr>
          <p:txBody>
            <a:bodyPr spcFirstLastPara="1" wrap="square" lIns="0" tIns="0" rIns="0" bIns="0" anchor="ctr" anchorCtr="0">
              <a:spAutoFit/>
            </a:bodyPr>
            <a:lstStyle/>
            <a:p>
              <a:pPr marL="0" marR="0" lvl="0" indent="0" rtl="0">
                <a:lnSpc>
                  <a:spcPct val="90000"/>
                </a:lnSpc>
                <a:spcBef>
                  <a:spcPts val="0"/>
                </a:spcBef>
                <a:spcAft>
                  <a:spcPts val="0"/>
                </a:spcAft>
                <a:buClr>
                  <a:srgbClr val="D70038"/>
                </a:buClr>
                <a:buSzPts val="2800"/>
                <a:buFont typeface="Arial"/>
                <a:buNone/>
              </a:pPr>
              <a:r>
                <a:rPr lang="en-US" sz="2800" b="1" i="0" u="none" strike="noStrike" cap="none" dirty="0">
                  <a:solidFill>
                    <a:srgbClr val="D70038"/>
                  </a:solidFill>
                  <a:latin typeface="Arial"/>
                  <a:ea typeface="Arial"/>
                  <a:cs typeface="Arial"/>
                  <a:sym typeface="Arial"/>
                </a:rPr>
                <a:t>50+</a:t>
              </a:r>
              <a:endParaRPr lang="en-US" dirty="0"/>
            </a:p>
            <a:p>
              <a:pPr marL="0" marR="0" lvl="0" indent="0" rtl="0">
                <a:lnSpc>
                  <a:spcPct val="90000"/>
                </a:lnSpc>
                <a:spcBef>
                  <a:spcPts val="0"/>
                </a:spcBef>
                <a:spcAft>
                  <a:spcPts val="0"/>
                </a:spcAft>
                <a:buClr>
                  <a:srgbClr val="D70038"/>
                </a:buClr>
                <a:buSzPts val="2800"/>
                <a:buFont typeface="Arial"/>
                <a:buNone/>
              </a:pPr>
              <a:r>
                <a:rPr lang="en-US" sz="1200" b="0" i="0" u="none" strike="noStrike" cap="none" dirty="0">
                  <a:solidFill>
                    <a:srgbClr val="3F3F3F"/>
                  </a:solidFill>
                  <a:latin typeface="Arial"/>
                  <a:ea typeface="Arial"/>
                  <a:cs typeface="Arial"/>
                  <a:sym typeface="Arial"/>
                </a:rPr>
                <a:t>CLIENTS SERVED</a:t>
              </a:r>
              <a:endParaRPr dirty="0"/>
            </a:p>
          </p:txBody>
        </p:sp>
        <p:grpSp>
          <p:nvGrpSpPr>
            <p:cNvPr id="494" name="Google Shape;494;p29"/>
            <p:cNvGrpSpPr/>
            <p:nvPr/>
          </p:nvGrpSpPr>
          <p:grpSpPr>
            <a:xfrm>
              <a:off x="4052868" y="926695"/>
              <a:ext cx="512944" cy="669058"/>
              <a:chOff x="6287821" y="2018102"/>
              <a:chExt cx="1020325" cy="1328443"/>
            </a:xfrm>
          </p:grpSpPr>
          <p:sp>
            <p:nvSpPr>
              <p:cNvPr id="495" name="Google Shape;495;p29"/>
              <p:cNvSpPr/>
              <p:nvPr/>
            </p:nvSpPr>
            <p:spPr>
              <a:xfrm rot="8100000">
                <a:off x="6287821" y="2018102"/>
                <a:ext cx="1020325" cy="1020323"/>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496" name="Google Shape;496;p29"/>
              <p:cNvGrpSpPr/>
              <p:nvPr/>
            </p:nvGrpSpPr>
            <p:grpSpPr>
              <a:xfrm>
                <a:off x="6452739" y="2195287"/>
                <a:ext cx="719803" cy="1151258"/>
                <a:chOff x="6452739" y="2195287"/>
                <a:chExt cx="719803" cy="1151258"/>
              </a:xfrm>
            </p:grpSpPr>
            <p:sp>
              <p:nvSpPr>
                <p:cNvPr id="497" name="Google Shape;497;p29"/>
                <p:cNvSpPr/>
                <p:nvPr/>
              </p:nvSpPr>
              <p:spPr>
                <a:xfrm>
                  <a:off x="6452739" y="3165086"/>
                  <a:ext cx="719803" cy="181459"/>
                </a:xfrm>
                <a:prstGeom prst="ellipse">
                  <a:avLst/>
                </a:prstGeom>
                <a:gradFill>
                  <a:gsLst>
                    <a:gs pos="0">
                      <a:srgbClr val="727272">
                        <a:alpha val="26666"/>
                      </a:srgbClr>
                    </a:gs>
                    <a:gs pos="100000">
                      <a:srgbClr val="727272">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98" name="Google Shape;498;p29"/>
                <p:cNvSpPr/>
                <p:nvPr/>
              </p:nvSpPr>
              <p:spPr>
                <a:xfrm>
                  <a:off x="6465008" y="2195287"/>
                  <a:ext cx="665953" cy="66595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499" name="Google Shape;499;p29"/>
                <p:cNvGrpSpPr/>
                <p:nvPr/>
              </p:nvGrpSpPr>
              <p:grpSpPr>
                <a:xfrm>
                  <a:off x="6635574" y="2364949"/>
                  <a:ext cx="324820" cy="326626"/>
                  <a:chOff x="10455275" y="2498725"/>
                  <a:chExt cx="285750" cy="287338"/>
                </a:xfrm>
              </p:grpSpPr>
              <p:sp>
                <p:nvSpPr>
                  <p:cNvPr id="500" name="Google Shape;500;p29"/>
                  <p:cNvSpPr/>
                  <p:nvPr/>
                </p:nvSpPr>
                <p:spPr>
                  <a:xfrm>
                    <a:off x="10455275" y="2593975"/>
                    <a:ext cx="285750" cy="192088"/>
                  </a:xfrm>
                  <a:custGeom>
                    <a:avLst/>
                    <a:gdLst/>
                    <a:ahLst/>
                    <a:cxnLst/>
                    <a:rect l="l" t="t" r="r" b="b"/>
                    <a:pathLst>
                      <a:path w="903" h="601" extrusionOk="0">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sp>
                <p:nvSpPr>
                  <p:cNvPr id="501" name="Google Shape;501;p29"/>
                  <p:cNvSpPr/>
                  <p:nvPr/>
                </p:nvSpPr>
                <p:spPr>
                  <a:xfrm>
                    <a:off x="10474325" y="2498725"/>
                    <a:ext cx="252413" cy="157163"/>
                  </a:xfrm>
                  <a:custGeom>
                    <a:avLst/>
                    <a:gdLst/>
                    <a:ahLst/>
                    <a:cxnLst/>
                    <a:rect l="l" t="t" r="r" b="b"/>
                    <a:pathLst>
                      <a:path w="796" h="496" extrusionOk="0">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grpSp>
          </p:grpSp>
        </p:grpSp>
        <p:pic>
          <p:nvPicPr>
            <p:cNvPr id="547" name="Google Shape;547;p29" descr="Customer review"/>
            <p:cNvPicPr preferRelativeResize="0"/>
            <p:nvPr/>
          </p:nvPicPr>
          <p:blipFill rotWithShape="1">
            <a:blip r:embed="rId5">
              <a:alphaModFix/>
            </a:blip>
            <a:srcRect/>
            <a:stretch/>
          </p:blipFill>
          <p:spPr>
            <a:xfrm>
              <a:off x="5386959" y="1016308"/>
              <a:ext cx="366887" cy="309893"/>
            </a:xfrm>
            <a:prstGeom prst="rect">
              <a:avLst/>
            </a:prstGeom>
            <a:noFill/>
            <a:ln>
              <a:noFill/>
            </a:ln>
          </p:spPr>
        </p:pic>
        <p:sp>
          <p:nvSpPr>
            <p:cNvPr id="503" name="Google Shape;503;p29"/>
            <p:cNvSpPr txBox="1"/>
            <p:nvPr/>
          </p:nvSpPr>
          <p:spPr>
            <a:xfrm>
              <a:off x="7962443" y="2162432"/>
              <a:ext cx="2260643" cy="562157"/>
            </a:xfrm>
            <a:prstGeom prst="rect">
              <a:avLst/>
            </a:prstGeom>
            <a:noFill/>
            <a:ln>
              <a:noFill/>
            </a:ln>
          </p:spPr>
          <p:txBody>
            <a:bodyPr spcFirstLastPara="1" wrap="square" lIns="0" tIns="0" rIns="0" bIns="0" anchor="ctr" anchorCtr="0">
              <a:spAutoFit/>
            </a:bodyPr>
            <a:lstStyle/>
            <a:p>
              <a:pPr marL="0" marR="0" lvl="0" indent="0" rtl="0">
                <a:lnSpc>
                  <a:spcPct val="90000"/>
                </a:lnSpc>
                <a:spcBef>
                  <a:spcPts val="0"/>
                </a:spcBef>
                <a:spcAft>
                  <a:spcPts val="0"/>
                </a:spcAft>
                <a:buClr>
                  <a:srgbClr val="D70038"/>
                </a:buClr>
                <a:buSzPts val="2800"/>
                <a:buFont typeface="Arial"/>
                <a:buNone/>
              </a:pPr>
              <a:r>
                <a:rPr lang="en-US" sz="2800" b="1" i="0" u="none" strike="noStrike" cap="none" dirty="0">
                  <a:solidFill>
                    <a:srgbClr val="D70038"/>
                  </a:solidFill>
                  <a:latin typeface="Arial"/>
                  <a:ea typeface="Arial"/>
                  <a:cs typeface="Arial"/>
                  <a:sym typeface="Arial"/>
                </a:rPr>
                <a:t>20+</a:t>
              </a:r>
              <a:endParaRPr lang="en-US" dirty="0"/>
            </a:p>
            <a:p>
              <a:pPr marL="0" marR="0" lvl="0" indent="0" rtl="0">
                <a:lnSpc>
                  <a:spcPct val="90000"/>
                </a:lnSpc>
                <a:spcBef>
                  <a:spcPts val="0"/>
                </a:spcBef>
                <a:spcAft>
                  <a:spcPts val="0"/>
                </a:spcAft>
                <a:buClr>
                  <a:srgbClr val="D70038"/>
                </a:buClr>
                <a:buSzPts val="2800"/>
                <a:buFont typeface="Arial"/>
                <a:buNone/>
              </a:pPr>
              <a:r>
                <a:rPr lang="en-US" sz="1200" b="0" i="0" u="none" strike="noStrike" cap="none" dirty="0">
                  <a:solidFill>
                    <a:srgbClr val="3F3F3F"/>
                  </a:solidFill>
                  <a:latin typeface="Arial"/>
                  <a:ea typeface="Arial"/>
                  <a:cs typeface="Arial"/>
                  <a:sym typeface="Arial"/>
                </a:rPr>
                <a:t>PRODUCTS &amp; ACCELERATORS</a:t>
              </a:r>
              <a:endParaRPr dirty="0"/>
            </a:p>
          </p:txBody>
        </p:sp>
        <p:grpSp>
          <p:nvGrpSpPr>
            <p:cNvPr id="512" name="Google Shape;512;p29"/>
            <p:cNvGrpSpPr/>
            <p:nvPr/>
          </p:nvGrpSpPr>
          <p:grpSpPr>
            <a:xfrm>
              <a:off x="6948580" y="1943135"/>
              <a:ext cx="1030127" cy="1101234"/>
              <a:chOff x="6076506" y="1806785"/>
              <a:chExt cx="1442956" cy="1539760"/>
            </a:xfrm>
          </p:grpSpPr>
          <p:sp>
            <p:nvSpPr>
              <p:cNvPr id="513" name="Google Shape;513;p29"/>
              <p:cNvSpPr/>
              <p:nvPr/>
            </p:nvSpPr>
            <p:spPr>
              <a:xfrm rot="8100000">
                <a:off x="6287822" y="2018102"/>
                <a:ext cx="1020325" cy="1020323"/>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14" name="Google Shape;514;p29"/>
              <p:cNvGrpSpPr/>
              <p:nvPr/>
            </p:nvGrpSpPr>
            <p:grpSpPr>
              <a:xfrm>
                <a:off x="6452739" y="2195287"/>
                <a:ext cx="719803" cy="1151258"/>
                <a:chOff x="6452739" y="2195287"/>
                <a:chExt cx="719803" cy="1151258"/>
              </a:xfrm>
            </p:grpSpPr>
            <p:sp>
              <p:nvSpPr>
                <p:cNvPr id="515" name="Google Shape;515;p29"/>
                <p:cNvSpPr/>
                <p:nvPr/>
              </p:nvSpPr>
              <p:spPr>
                <a:xfrm>
                  <a:off x="6452739" y="3165086"/>
                  <a:ext cx="719803" cy="181459"/>
                </a:xfrm>
                <a:prstGeom prst="ellipse">
                  <a:avLst/>
                </a:prstGeom>
                <a:gradFill>
                  <a:gsLst>
                    <a:gs pos="0">
                      <a:srgbClr val="727272">
                        <a:alpha val="26666"/>
                      </a:srgbClr>
                    </a:gs>
                    <a:gs pos="100000">
                      <a:srgbClr val="727272">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16" name="Google Shape;516;p29"/>
                <p:cNvSpPr/>
                <p:nvPr/>
              </p:nvSpPr>
              <p:spPr>
                <a:xfrm>
                  <a:off x="6465008" y="2195287"/>
                  <a:ext cx="665953" cy="66595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dirty="0">
                    <a:solidFill>
                      <a:srgbClr val="FFFFFF"/>
                    </a:solidFill>
                    <a:latin typeface="Arial"/>
                    <a:ea typeface="Arial"/>
                    <a:cs typeface="Arial"/>
                    <a:sym typeface="Arial"/>
                  </a:endParaRPr>
                </a:p>
              </p:txBody>
            </p:sp>
            <p:grpSp>
              <p:nvGrpSpPr>
                <p:cNvPr id="517" name="Google Shape;517;p29"/>
                <p:cNvGrpSpPr/>
                <p:nvPr/>
              </p:nvGrpSpPr>
              <p:grpSpPr>
                <a:xfrm>
                  <a:off x="6635574" y="2364949"/>
                  <a:ext cx="324820" cy="326626"/>
                  <a:chOff x="10455275" y="2498725"/>
                  <a:chExt cx="285750" cy="287338"/>
                </a:xfrm>
              </p:grpSpPr>
              <p:sp>
                <p:nvSpPr>
                  <p:cNvPr id="518" name="Google Shape;518;p29"/>
                  <p:cNvSpPr/>
                  <p:nvPr/>
                </p:nvSpPr>
                <p:spPr>
                  <a:xfrm>
                    <a:off x="10455275" y="2593975"/>
                    <a:ext cx="285750" cy="192088"/>
                  </a:xfrm>
                  <a:custGeom>
                    <a:avLst/>
                    <a:gdLst/>
                    <a:ahLst/>
                    <a:cxnLst/>
                    <a:rect l="l" t="t" r="r" b="b"/>
                    <a:pathLst>
                      <a:path w="903" h="601" extrusionOk="0">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sp>
                <p:nvSpPr>
                  <p:cNvPr id="519" name="Google Shape;519;p29"/>
                  <p:cNvSpPr/>
                  <p:nvPr/>
                </p:nvSpPr>
                <p:spPr>
                  <a:xfrm>
                    <a:off x="10474325" y="2498725"/>
                    <a:ext cx="252413" cy="157163"/>
                  </a:xfrm>
                  <a:custGeom>
                    <a:avLst/>
                    <a:gdLst/>
                    <a:ahLst/>
                    <a:cxnLst/>
                    <a:rect l="l" t="t" r="r" b="b"/>
                    <a:pathLst>
                      <a:path w="796" h="496" extrusionOk="0">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grpSp>
          </p:grpSp>
        </p:grpSp>
        <p:pic>
          <p:nvPicPr>
            <p:cNvPr id="549" name="Google Shape;549;p29" descr="Bar chart"/>
            <p:cNvPicPr preferRelativeResize="0"/>
            <p:nvPr/>
          </p:nvPicPr>
          <p:blipFill rotWithShape="1">
            <a:blip r:embed="rId6">
              <a:alphaModFix/>
            </a:blip>
            <a:srcRect/>
            <a:stretch/>
          </p:blipFill>
          <p:spPr>
            <a:xfrm>
              <a:off x="8638595" y="2192442"/>
              <a:ext cx="354914" cy="299781"/>
            </a:xfrm>
            <a:prstGeom prst="rect">
              <a:avLst/>
            </a:prstGeom>
            <a:noFill/>
            <a:ln>
              <a:noFill/>
            </a:ln>
          </p:spPr>
        </p:pic>
        <p:sp>
          <p:nvSpPr>
            <p:cNvPr id="521" name="Google Shape;521;p29"/>
            <p:cNvSpPr txBox="1"/>
            <p:nvPr/>
          </p:nvSpPr>
          <p:spPr>
            <a:xfrm>
              <a:off x="3497536" y="3552238"/>
              <a:ext cx="934119" cy="562157"/>
            </a:xfrm>
            <a:prstGeom prst="rect">
              <a:avLst/>
            </a:prstGeom>
            <a:noFill/>
            <a:ln>
              <a:noFill/>
            </a:ln>
          </p:spPr>
          <p:txBody>
            <a:bodyPr spcFirstLastPara="1" wrap="square" lIns="0" tIns="0" rIns="0" bIns="0" anchor="ctr" anchorCtr="0">
              <a:spAutoFit/>
            </a:bodyPr>
            <a:lstStyle/>
            <a:p>
              <a:pPr marL="0" marR="0" lvl="0" indent="0" algn="r" rtl="0">
                <a:lnSpc>
                  <a:spcPct val="90000"/>
                </a:lnSpc>
                <a:spcBef>
                  <a:spcPts val="0"/>
                </a:spcBef>
                <a:spcAft>
                  <a:spcPts val="0"/>
                </a:spcAft>
                <a:buClr>
                  <a:srgbClr val="D70038"/>
                </a:buClr>
                <a:buSzPts val="2800"/>
                <a:buFont typeface="Arial"/>
                <a:buNone/>
              </a:pPr>
              <a:r>
                <a:rPr lang="en-US" sz="2800" b="1" i="0" u="none" strike="noStrike" cap="none" dirty="0">
                  <a:solidFill>
                    <a:srgbClr val="D70038"/>
                  </a:solidFill>
                  <a:latin typeface="Arial"/>
                  <a:ea typeface="Arial"/>
                  <a:cs typeface="Arial"/>
                  <a:sym typeface="Arial"/>
                </a:rPr>
                <a:t>100+</a:t>
              </a:r>
              <a:endParaRPr dirty="0"/>
            </a:p>
            <a:p>
              <a:pPr marL="0" marR="0" lvl="0" indent="0" algn="r" rtl="0">
                <a:lnSpc>
                  <a:spcPct val="100000"/>
                </a:lnSpc>
                <a:spcBef>
                  <a:spcPts val="0"/>
                </a:spcBef>
                <a:spcAft>
                  <a:spcPts val="0"/>
                </a:spcAft>
                <a:buClr>
                  <a:srgbClr val="3F3F3F"/>
                </a:buClr>
                <a:buSzPts val="1200"/>
                <a:buFont typeface="Arial"/>
                <a:buNone/>
              </a:pPr>
              <a:r>
                <a:rPr lang="en-US" sz="1200" b="0" i="0" u="none" strike="noStrike" cap="none" dirty="0">
                  <a:solidFill>
                    <a:srgbClr val="3F3F3F"/>
                  </a:solidFill>
                  <a:latin typeface="Arial"/>
                  <a:ea typeface="Arial"/>
                  <a:cs typeface="Arial"/>
                  <a:sym typeface="Arial"/>
                </a:rPr>
                <a:t>OUR TEAM </a:t>
              </a:r>
              <a:endParaRPr dirty="0"/>
            </a:p>
          </p:txBody>
        </p:sp>
        <p:grpSp>
          <p:nvGrpSpPr>
            <p:cNvPr id="522" name="Google Shape;522;p29"/>
            <p:cNvGrpSpPr/>
            <p:nvPr/>
          </p:nvGrpSpPr>
          <p:grpSpPr>
            <a:xfrm>
              <a:off x="4330837" y="3115155"/>
              <a:ext cx="1355147" cy="1448690"/>
              <a:chOff x="6076506" y="1806785"/>
              <a:chExt cx="1442956" cy="1539760"/>
            </a:xfrm>
          </p:grpSpPr>
          <p:sp>
            <p:nvSpPr>
              <p:cNvPr id="523" name="Google Shape;523;p29"/>
              <p:cNvSpPr/>
              <p:nvPr/>
            </p:nvSpPr>
            <p:spPr>
              <a:xfrm rot="8100000">
                <a:off x="6287822" y="2018102"/>
                <a:ext cx="1020325" cy="1020323"/>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24" name="Google Shape;524;p29"/>
              <p:cNvGrpSpPr/>
              <p:nvPr/>
            </p:nvGrpSpPr>
            <p:grpSpPr>
              <a:xfrm>
                <a:off x="6452739" y="2195287"/>
                <a:ext cx="719803" cy="1151258"/>
                <a:chOff x="6452739" y="2195287"/>
                <a:chExt cx="719803" cy="1151258"/>
              </a:xfrm>
            </p:grpSpPr>
            <p:sp>
              <p:nvSpPr>
                <p:cNvPr id="525" name="Google Shape;525;p29"/>
                <p:cNvSpPr/>
                <p:nvPr/>
              </p:nvSpPr>
              <p:spPr>
                <a:xfrm>
                  <a:off x="6452739" y="3165086"/>
                  <a:ext cx="719803" cy="181459"/>
                </a:xfrm>
                <a:prstGeom prst="ellipse">
                  <a:avLst/>
                </a:prstGeom>
                <a:gradFill>
                  <a:gsLst>
                    <a:gs pos="0">
                      <a:srgbClr val="727272">
                        <a:alpha val="26666"/>
                      </a:srgbClr>
                    </a:gs>
                    <a:gs pos="100000">
                      <a:srgbClr val="727272">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26" name="Google Shape;526;p29"/>
                <p:cNvSpPr/>
                <p:nvPr/>
              </p:nvSpPr>
              <p:spPr>
                <a:xfrm>
                  <a:off x="6465008" y="2195287"/>
                  <a:ext cx="665953" cy="66595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27" name="Google Shape;527;p29"/>
                <p:cNvGrpSpPr/>
                <p:nvPr/>
              </p:nvGrpSpPr>
              <p:grpSpPr>
                <a:xfrm>
                  <a:off x="6635574" y="2364949"/>
                  <a:ext cx="324820" cy="326626"/>
                  <a:chOff x="10455275" y="2498725"/>
                  <a:chExt cx="285750" cy="287338"/>
                </a:xfrm>
              </p:grpSpPr>
              <p:sp>
                <p:nvSpPr>
                  <p:cNvPr id="528" name="Google Shape;528;p29"/>
                  <p:cNvSpPr/>
                  <p:nvPr/>
                </p:nvSpPr>
                <p:spPr>
                  <a:xfrm>
                    <a:off x="10455275" y="2593975"/>
                    <a:ext cx="285750" cy="192088"/>
                  </a:xfrm>
                  <a:custGeom>
                    <a:avLst/>
                    <a:gdLst/>
                    <a:ahLst/>
                    <a:cxnLst/>
                    <a:rect l="l" t="t" r="r" b="b"/>
                    <a:pathLst>
                      <a:path w="903" h="601" extrusionOk="0">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sp>
                <p:nvSpPr>
                  <p:cNvPr id="529" name="Google Shape;529;p29"/>
                  <p:cNvSpPr/>
                  <p:nvPr/>
                </p:nvSpPr>
                <p:spPr>
                  <a:xfrm>
                    <a:off x="10474325" y="2498725"/>
                    <a:ext cx="252413" cy="157163"/>
                  </a:xfrm>
                  <a:custGeom>
                    <a:avLst/>
                    <a:gdLst/>
                    <a:ahLst/>
                    <a:cxnLst/>
                    <a:rect l="l" t="t" r="r" b="b"/>
                    <a:pathLst>
                      <a:path w="796" h="496" extrusionOk="0">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grpSp>
          </p:grpSp>
        </p:grpSp>
        <p:pic>
          <p:nvPicPr>
            <p:cNvPr id="550" name="Google Shape;550;p29" descr="Meeting"/>
            <p:cNvPicPr preferRelativeResize="0"/>
            <p:nvPr/>
          </p:nvPicPr>
          <p:blipFill rotWithShape="1">
            <a:blip r:embed="rId7">
              <a:alphaModFix/>
            </a:blip>
            <a:srcRect/>
            <a:stretch/>
          </p:blipFill>
          <p:spPr>
            <a:xfrm>
              <a:off x="3186424" y="3584032"/>
              <a:ext cx="355971" cy="300674"/>
            </a:xfrm>
            <a:prstGeom prst="rect">
              <a:avLst/>
            </a:prstGeom>
            <a:noFill/>
            <a:ln>
              <a:noFill/>
            </a:ln>
          </p:spPr>
        </p:pic>
        <p:grpSp>
          <p:nvGrpSpPr>
            <p:cNvPr id="504" name="Google Shape;504;p29"/>
            <p:cNvGrpSpPr/>
            <p:nvPr/>
          </p:nvGrpSpPr>
          <p:grpSpPr>
            <a:xfrm>
              <a:off x="2945361" y="1766599"/>
              <a:ext cx="518374" cy="676140"/>
              <a:chOff x="6287822" y="2018102"/>
              <a:chExt cx="1020325" cy="1328444"/>
            </a:xfrm>
          </p:grpSpPr>
          <p:sp>
            <p:nvSpPr>
              <p:cNvPr id="505" name="Google Shape;505;p29"/>
              <p:cNvSpPr/>
              <p:nvPr/>
            </p:nvSpPr>
            <p:spPr>
              <a:xfrm rot="8100000">
                <a:off x="6287822" y="2018102"/>
                <a:ext cx="1020325" cy="1020323"/>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06" name="Google Shape;506;p29"/>
              <p:cNvGrpSpPr/>
              <p:nvPr/>
            </p:nvGrpSpPr>
            <p:grpSpPr>
              <a:xfrm>
                <a:off x="6452739" y="2195287"/>
                <a:ext cx="719803" cy="1151259"/>
                <a:chOff x="6452739" y="2195287"/>
                <a:chExt cx="719803" cy="1151259"/>
              </a:xfrm>
            </p:grpSpPr>
            <p:sp>
              <p:nvSpPr>
                <p:cNvPr id="507" name="Google Shape;507;p29"/>
                <p:cNvSpPr/>
                <p:nvPr/>
              </p:nvSpPr>
              <p:spPr>
                <a:xfrm>
                  <a:off x="6452739" y="3165087"/>
                  <a:ext cx="719803" cy="181459"/>
                </a:xfrm>
                <a:prstGeom prst="ellipse">
                  <a:avLst/>
                </a:prstGeom>
                <a:gradFill>
                  <a:gsLst>
                    <a:gs pos="0">
                      <a:srgbClr val="727272">
                        <a:alpha val="26666"/>
                      </a:srgbClr>
                    </a:gs>
                    <a:gs pos="100000">
                      <a:srgbClr val="727272">
                        <a:alpha val="0"/>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08" name="Google Shape;508;p29"/>
                <p:cNvSpPr/>
                <p:nvPr/>
              </p:nvSpPr>
              <p:spPr>
                <a:xfrm>
                  <a:off x="6465008" y="2195287"/>
                  <a:ext cx="665953" cy="665951"/>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509" name="Google Shape;509;p29"/>
                <p:cNvGrpSpPr/>
                <p:nvPr/>
              </p:nvGrpSpPr>
              <p:grpSpPr>
                <a:xfrm>
                  <a:off x="6635574" y="2364949"/>
                  <a:ext cx="324820" cy="326626"/>
                  <a:chOff x="10455275" y="2498725"/>
                  <a:chExt cx="285750" cy="287338"/>
                </a:xfrm>
              </p:grpSpPr>
              <p:sp>
                <p:nvSpPr>
                  <p:cNvPr id="510" name="Google Shape;510;p29"/>
                  <p:cNvSpPr/>
                  <p:nvPr/>
                </p:nvSpPr>
                <p:spPr>
                  <a:xfrm>
                    <a:off x="10455275" y="2593975"/>
                    <a:ext cx="285750" cy="192088"/>
                  </a:xfrm>
                  <a:custGeom>
                    <a:avLst/>
                    <a:gdLst/>
                    <a:ahLst/>
                    <a:cxnLst/>
                    <a:rect l="l" t="t" r="r" b="b"/>
                    <a:pathLst>
                      <a:path w="903" h="601" extrusionOk="0">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sp>
                <p:nvSpPr>
                  <p:cNvPr id="511" name="Google Shape;511;p29"/>
                  <p:cNvSpPr/>
                  <p:nvPr/>
                </p:nvSpPr>
                <p:spPr>
                  <a:xfrm>
                    <a:off x="10474325" y="2498725"/>
                    <a:ext cx="252413" cy="157163"/>
                  </a:xfrm>
                  <a:custGeom>
                    <a:avLst/>
                    <a:gdLst/>
                    <a:ahLst/>
                    <a:cxnLst/>
                    <a:rect l="l" t="t" r="r" b="b"/>
                    <a:pathLst>
                      <a:path w="796" h="496" extrusionOk="0">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E4E4E4"/>
                      </a:solidFill>
                      <a:latin typeface="Arial"/>
                      <a:ea typeface="Arial"/>
                      <a:cs typeface="Arial"/>
                      <a:sym typeface="Arial"/>
                    </a:endParaRPr>
                  </a:p>
                </p:txBody>
              </p:sp>
            </p:grpSp>
          </p:grpSp>
        </p:grpSp>
        <p:pic>
          <p:nvPicPr>
            <p:cNvPr id="548" name="Google Shape;548;p29" descr="Projector screen"/>
            <p:cNvPicPr preferRelativeResize="0"/>
            <p:nvPr/>
          </p:nvPicPr>
          <p:blipFill rotWithShape="1">
            <a:blip r:embed="rId8">
              <a:alphaModFix/>
            </a:blip>
            <a:srcRect/>
            <a:stretch/>
          </p:blipFill>
          <p:spPr>
            <a:xfrm>
              <a:off x="2982528" y="2478318"/>
              <a:ext cx="412313" cy="348263"/>
            </a:xfrm>
            <a:prstGeom prst="rect">
              <a:avLst/>
            </a:prstGeom>
            <a:noFill/>
            <a:ln>
              <a:noFill/>
            </a:ln>
          </p:spPr>
        </p:pic>
      </p:grpSp>
      <p:sp>
        <p:nvSpPr>
          <p:cNvPr id="552" name="Google Shape;552;p29"/>
          <p:cNvSpPr txBox="1"/>
          <p:nvPr/>
        </p:nvSpPr>
        <p:spPr>
          <a:xfrm>
            <a:off x="514894" y="67150"/>
            <a:ext cx="2812726" cy="57785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rgbClr val="D70038"/>
                </a:solidFill>
                <a:latin typeface="Arial"/>
                <a:ea typeface="Arial"/>
                <a:cs typeface="Arial"/>
                <a:sym typeface="Arial"/>
              </a:rPr>
              <a:t>About Think360</a:t>
            </a:r>
            <a:endParaRPr dirty="0"/>
          </a:p>
        </p:txBody>
      </p:sp>
      <p:sp>
        <p:nvSpPr>
          <p:cNvPr id="65" name="Content Placeholder 16">
            <a:extLst>
              <a:ext uri="{FF2B5EF4-FFF2-40B4-BE49-F238E27FC236}">
                <a16:creationId xmlns:a16="http://schemas.microsoft.com/office/drawing/2014/main" id="{793216A6-A45B-4FEF-B150-66E4DBE88382}"/>
              </a:ext>
            </a:extLst>
          </p:cNvPr>
          <p:cNvSpPr txBox="1">
            <a:spLocks/>
          </p:cNvSpPr>
          <p:nvPr/>
        </p:nvSpPr>
        <p:spPr>
          <a:xfrm>
            <a:off x="503066" y="758144"/>
            <a:ext cx="8631194" cy="263646"/>
          </a:xfrm>
          <a:prstGeom prst="rect">
            <a:avLst/>
          </a:prstGeom>
        </p:spPr>
        <p:txBody>
          <a:bodyPr/>
          <a:lstStyle>
            <a:lvl1pPr marL="287338" indent="-287338" algn="l" defTabSz="457200" rtl="0" eaLnBrk="1" latinLnBrk="0" hangingPunct="1">
              <a:spcBef>
                <a:spcPct val="20000"/>
              </a:spcBef>
              <a:buFont typeface="Arial"/>
              <a:buChar char="•"/>
              <a:defRPr sz="2000" kern="1200">
                <a:solidFill>
                  <a:srgbClr val="FFFFFF"/>
                </a:solidFill>
                <a:latin typeface="+mn-lt"/>
                <a:ea typeface="+mn-ea"/>
                <a:cs typeface="+mn-cs"/>
              </a:defRPr>
            </a:lvl1pPr>
            <a:lvl2pPr marL="627063" indent="-288925" algn="l" defTabSz="457200" rtl="0" eaLnBrk="1" latinLnBrk="0" hangingPunct="1">
              <a:spcBef>
                <a:spcPct val="20000"/>
              </a:spcBef>
              <a:buFont typeface="Arial"/>
              <a:buChar char="–"/>
              <a:tabLst/>
              <a:defRPr sz="1800" kern="1200">
                <a:solidFill>
                  <a:srgbClr val="FFFFFF"/>
                </a:solidFill>
                <a:latin typeface="+mn-lt"/>
                <a:ea typeface="+mn-ea"/>
                <a:cs typeface="+mn-cs"/>
              </a:defRPr>
            </a:lvl2pPr>
            <a:lvl3pPr marL="855663" indent="-228600" algn="l" defTabSz="457200" rtl="0" eaLnBrk="1" latinLnBrk="0" hangingPunct="1">
              <a:spcBef>
                <a:spcPct val="20000"/>
              </a:spcBef>
              <a:buFont typeface="Arial"/>
              <a:buChar char="•"/>
              <a:defRPr sz="1600" kern="1200">
                <a:solidFill>
                  <a:srgbClr val="FFFFFF"/>
                </a:solidFill>
                <a:latin typeface="+mn-lt"/>
                <a:ea typeface="+mn-ea"/>
                <a:cs typeface="+mn-cs"/>
              </a:defRPr>
            </a:lvl3pPr>
            <a:lvl4pPr marL="1143000" indent="-279400" algn="l" defTabSz="457200" rtl="0" eaLnBrk="1" latinLnBrk="0" hangingPunct="1">
              <a:spcBef>
                <a:spcPct val="20000"/>
              </a:spcBef>
              <a:buFont typeface="Arial"/>
              <a:buChar char="–"/>
              <a:defRPr sz="1600" kern="1200">
                <a:solidFill>
                  <a:srgbClr val="FFFFFF"/>
                </a:solidFill>
                <a:latin typeface="+mn-lt"/>
                <a:ea typeface="+mn-ea"/>
                <a:cs typeface="+mn-cs"/>
              </a:defRPr>
            </a:lvl4pPr>
            <a:lvl5pPr marL="1371600" indent="-228600" algn="l" defTabSz="457200" rtl="0" eaLnBrk="1" latinLnBrk="0" hangingPunct="1">
              <a:spcBef>
                <a:spcPct val="20000"/>
              </a:spcBef>
              <a:buFont typeface="Arial"/>
              <a:buChar char="»"/>
              <a:defRPr sz="16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1600" b="0" dirty="0">
                <a:solidFill>
                  <a:schemeClr val="bg1">
                    <a:lumMod val="10000"/>
                  </a:schemeClr>
                </a:solidFill>
              </a:rPr>
              <a:t>Helping businesses drive forward with ideas powered by data and artificial intelligence</a:t>
            </a:r>
            <a:endParaRPr lang="en-US" sz="1600" dirty="0">
              <a:solidFill>
                <a:schemeClr val="bg1">
                  <a:lumMod val="10000"/>
                </a:schemeClr>
              </a:solidFill>
            </a:endParaRPr>
          </a:p>
        </p:txBody>
      </p:sp>
      <p:pic>
        <p:nvPicPr>
          <p:cNvPr id="66" name="Picture 65">
            <a:extLst>
              <a:ext uri="{FF2B5EF4-FFF2-40B4-BE49-F238E27FC236}">
                <a16:creationId xmlns:a16="http://schemas.microsoft.com/office/drawing/2014/main" id="{2EC60D18-C2F9-9D43-94F5-16FDF7355144}"/>
              </a:ext>
            </a:extLst>
          </p:cNvPr>
          <p:cNvPicPr>
            <a:picLocks noChangeAspect="1"/>
          </p:cNvPicPr>
          <p:nvPr/>
        </p:nvPicPr>
        <p:blipFill rotWithShape="1">
          <a:blip r:embed="rId9"/>
          <a:srcRect l="18122" r="22717"/>
          <a:stretch/>
        </p:blipFill>
        <p:spPr>
          <a:xfrm>
            <a:off x="11244401" y="-128921"/>
            <a:ext cx="947600" cy="1601731"/>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A647C8FD-C59A-3F4C-B3BB-20960A65F3B6}"/>
              </a:ext>
            </a:extLst>
          </p:cNvPr>
          <p:cNvSpPr>
            <a:spLocks noGrp="1"/>
          </p:cNvSpPr>
          <p:nvPr>
            <p:ph type="title"/>
          </p:nvPr>
        </p:nvSpPr>
        <p:spPr/>
        <p:txBody>
          <a:bodyPr/>
          <a:lstStyle/>
          <a:p>
            <a:r>
              <a:rPr lang="en-US" dirty="0">
                <a:solidFill>
                  <a:schemeClr val="accent3"/>
                </a:solidFill>
              </a:rPr>
              <a:t>Our core values</a:t>
            </a:r>
          </a:p>
        </p:txBody>
      </p:sp>
      <p:sp>
        <p:nvSpPr>
          <p:cNvPr id="2" name="Slide Number Placeholder 1">
            <a:extLst>
              <a:ext uri="{FF2B5EF4-FFF2-40B4-BE49-F238E27FC236}">
                <a16:creationId xmlns:a16="http://schemas.microsoft.com/office/drawing/2014/main" id="{535039C6-1743-9C43-BEC7-BBF05EB5BFC7}"/>
              </a:ext>
            </a:extLst>
          </p:cNvPr>
          <p:cNvSpPr>
            <a:spLocks noGrp="1"/>
          </p:cNvSpPr>
          <p:nvPr>
            <p:ph type="sldNum" sz="quarter" idx="4"/>
          </p:nvPr>
        </p:nvSpPr>
        <p:spPr/>
        <p:txBody>
          <a:bodyPr/>
          <a:lstStyle/>
          <a:p>
            <a:pPr defTabSz="457200"/>
            <a:fld id="{33B05D85-7E10-5D4F-A75C-A55D283254FB}" type="slidenum">
              <a:rPr lang="en-US" smtClean="0"/>
              <a:pPr defTabSz="457200"/>
              <a:t>4</a:t>
            </a:fld>
            <a:endParaRPr lang="en-US" dirty="0"/>
          </a:p>
        </p:txBody>
      </p:sp>
      <p:sp>
        <p:nvSpPr>
          <p:cNvPr id="21" name="Oval 20">
            <a:extLst>
              <a:ext uri="{FF2B5EF4-FFF2-40B4-BE49-F238E27FC236}">
                <a16:creationId xmlns:a16="http://schemas.microsoft.com/office/drawing/2014/main" id="{2D7BBF63-C1E2-8741-99A2-4C7FA98A896F}"/>
              </a:ext>
            </a:extLst>
          </p:cNvPr>
          <p:cNvSpPr/>
          <p:nvPr/>
        </p:nvSpPr>
        <p:spPr>
          <a:xfrm>
            <a:off x="4232565" y="1638063"/>
            <a:ext cx="3726873" cy="3726873"/>
          </a:xfrm>
          <a:prstGeom prst="ellipse">
            <a:avLst/>
          </a:prstGeom>
          <a:solidFill>
            <a:srgbClr val="F2F2F2"/>
          </a:solidFill>
          <a:ln w="25400" cap="flat" cmpd="sng" algn="ctr">
            <a:solidFill>
              <a:srgbClr val="136DBA"/>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3D9487D1-9C28-CE40-B70E-B0C756713D8C}"/>
              </a:ext>
            </a:extLst>
          </p:cNvPr>
          <p:cNvSpPr/>
          <p:nvPr/>
        </p:nvSpPr>
        <p:spPr>
          <a:xfrm>
            <a:off x="4643252" y="2352062"/>
            <a:ext cx="2905498" cy="2905498"/>
          </a:xfrm>
          <a:prstGeom prst="ellipse">
            <a:avLst/>
          </a:prstGeom>
          <a:solidFill>
            <a:srgbClr val="25326E"/>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19D984AC-E2C7-BC47-923D-C5821A95A57A}"/>
              </a:ext>
            </a:extLst>
          </p:cNvPr>
          <p:cNvSpPr/>
          <p:nvPr/>
        </p:nvSpPr>
        <p:spPr>
          <a:xfrm>
            <a:off x="4970318" y="2898820"/>
            <a:ext cx="2251364" cy="2251364"/>
          </a:xfrm>
          <a:prstGeom prst="ellipse">
            <a:avLst/>
          </a:prstGeom>
          <a:solidFill>
            <a:srgbClr val="D70038"/>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92404B4A-3D88-7B4A-8C23-3DBD7503A9A4}"/>
              </a:ext>
            </a:extLst>
          </p:cNvPr>
          <p:cNvSpPr/>
          <p:nvPr/>
        </p:nvSpPr>
        <p:spPr>
          <a:xfrm>
            <a:off x="5296394" y="3443595"/>
            <a:ext cx="1599215" cy="1599215"/>
          </a:xfrm>
          <a:prstGeom prst="ellipse">
            <a:avLst/>
          </a:prstGeom>
          <a:solidFill>
            <a:srgbClr val="51C3F1"/>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182232D5-D22B-AF40-85FC-4C52F60C209B}"/>
              </a:ext>
            </a:extLst>
          </p:cNvPr>
          <p:cNvSpPr/>
          <p:nvPr/>
        </p:nvSpPr>
        <p:spPr>
          <a:xfrm>
            <a:off x="5625932" y="3995297"/>
            <a:ext cx="940139" cy="940139"/>
          </a:xfrm>
          <a:prstGeom prst="ellipse">
            <a:avLst/>
          </a:prstGeom>
          <a:solidFill>
            <a:srgbClr val="FFFFFF"/>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BF07B3D5-5E5F-CD4F-9896-1FD615C310CC}"/>
              </a:ext>
            </a:extLst>
          </p:cNvPr>
          <p:cNvSpPr txBox="1"/>
          <p:nvPr/>
        </p:nvSpPr>
        <p:spPr>
          <a:xfrm>
            <a:off x="8478618" y="1590346"/>
            <a:ext cx="2722779" cy="461665"/>
          </a:xfrm>
          <a:prstGeom prst="rect">
            <a:avLst/>
          </a:prstGeom>
          <a:noFill/>
        </p:spPr>
        <p:txBody>
          <a:bodyPr wrap="square" l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D70038"/>
                </a:solidFill>
                <a:effectLst/>
                <a:uLnTx/>
                <a:uFillTx/>
              </a:rPr>
              <a:t>Work Smartly</a:t>
            </a:r>
          </a:p>
        </p:txBody>
      </p:sp>
      <p:sp>
        <p:nvSpPr>
          <p:cNvPr id="27" name="TextBox 26">
            <a:extLst>
              <a:ext uri="{FF2B5EF4-FFF2-40B4-BE49-F238E27FC236}">
                <a16:creationId xmlns:a16="http://schemas.microsoft.com/office/drawing/2014/main" id="{DA8F0D31-644D-C44D-9AB0-9C745520638C}"/>
              </a:ext>
            </a:extLst>
          </p:cNvPr>
          <p:cNvSpPr txBox="1"/>
          <p:nvPr/>
        </p:nvSpPr>
        <p:spPr>
          <a:xfrm>
            <a:off x="8485846" y="2085431"/>
            <a:ext cx="2700000" cy="923330"/>
          </a:xfrm>
          <a:prstGeom prst="rect">
            <a:avLst/>
          </a:prstGeom>
          <a:noFill/>
        </p:spPr>
        <p:txBody>
          <a:bodyPr wrap="square" lIns="0" rIns="0" rtlCol="0" anchor="t">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393939"/>
                </a:solidFill>
                <a:effectLst/>
                <a:uLnTx/>
                <a:uFillTx/>
              </a:rPr>
              <a:t>Increase efficiency through automation, and intelligence</a:t>
            </a:r>
          </a:p>
        </p:txBody>
      </p:sp>
      <p:sp>
        <p:nvSpPr>
          <p:cNvPr id="28" name="TextBox 27">
            <a:extLst>
              <a:ext uri="{FF2B5EF4-FFF2-40B4-BE49-F238E27FC236}">
                <a16:creationId xmlns:a16="http://schemas.microsoft.com/office/drawing/2014/main" id="{4BE84FA2-5CE6-A94D-A385-8EF28050C4E2}"/>
              </a:ext>
            </a:extLst>
          </p:cNvPr>
          <p:cNvSpPr txBox="1"/>
          <p:nvPr/>
        </p:nvSpPr>
        <p:spPr>
          <a:xfrm>
            <a:off x="8478618" y="3517551"/>
            <a:ext cx="2722779" cy="461665"/>
          </a:xfrm>
          <a:prstGeom prst="rect">
            <a:avLst/>
          </a:prstGeom>
          <a:noFill/>
        </p:spPr>
        <p:txBody>
          <a:bodyPr wrap="square" l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D70038"/>
                </a:solidFill>
                <a:effectLst/>
                <a:uLnTx/>
                <a:uFillTx/>
              </a:rPr>
              <a:t>Collaborative</a:t>
            </a:r>
          </a:p>
        </p:txBody>
      </p:sp>
      <p:sp>
        <p:nvSpPr>
          <p:cNvPr id="29" name="TextBox 28">
            <a:extLst>
              <a:ext uri="{FF2B5EF4-FFF2-40B4-BE49-F238E27FC236}">
                <a16:creationId xmlns:a16="http://schemas.microsoft.com/office/drawing/2014/main" id="{F268292E-6BCA-5047-8448-45568A7D0451}"/>
              </a:ext>
            </a:extLst>
          </p:cNvPr>
          <p:cNvSpPr txBox="1"/>
          <p:nvPr/>
        </p:nvSpPr>
        <p:spPr>
          <a:xfrm>
            <a:off x="8485846" y="4163882"/>
            <a:ext cx="2700000" cy="646331"/>
          </a:xfrm>
          <a:prstGeom prst="rect">
            <a:avLst/>
          </a:prstGeom>
          <a:noFill/>
        </p:spPr>
        <p:txBody>
          <a:bodyPr wrap="square" lIns="0" rIns="0" rtlCol="0" anchor="t">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393939"/>
                </a:solidFill>
                <a:effectLst/>
                <a:uLnTx/>
                <a:uFillTx/>
              </a:rPr>
              <a:t>Collaborative within team and with client</a:t>
            </a:r>
          </a:p>
        </p:txBody>
      </p:sp>
      <p:sp>
        <p:nvSpPr>
          <p:cNvPr id="30" name="TextBox 29">
            <a:extLst>
              <a:ext uri="{FF2B5EF4-FFF2-40B4-BE49-F238E27FC236}">
                <a16:creationId xmlns:a16="http://schemas.microsoft.com/office/drawing/2014/main" id="{A3A32CA0-71F6-4149-832B-B5D52273EF8A}"/>
              </a:ext>
            </a:extLst>
          </p:cNvPr>
          <p:cNvSpPr txBox="1"/>
          <p:nvPr/>
        </p:nvSpPr>
        <p:spPr>
          <a:xfrm>
            <a:off x="1193800" y="1590346"/>
            <a:ext cx="2514714" cy="461665"/>
          </a:xfrm>
          <a:prstGeom prst="rect">
            <a:avLst/>
          </a:prstGeom>
          <a:noFill/>
        </p:spPr>
        <p:txBody>
          <a:bodyPr wrap="square" lIns="0" r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D70038"/>
                </a:solidFill>
                <a:effectLst/>
                <a:uLnTx/>
                <a:uFillTx/>
              </a:rPr>
              <a:t>Client Centricity</a:t>
            </a:r>
          </a:p>
        </p:txBody>
      </p:sp>
      <p:sp>
        <p:nvSpPr>
          <p:cNvPr id="31" name="TextBox 30">
            <a:extLst>
              <a:ext uri="{FF2B5EF4-FFF2-40B4-BE49-F238E27FC236}">
                <a16:creationId xmlns:a16="http://schemas.microsoft.com/office/drawing/2014/main" id="{E224A802-F81D-F849-AAD1-9379FCA8AC15}"/>
              </a:ext>
            </a:extLst>
          </p:cNvPr>
          <p:cNvSpPr txBox="1"/>
          <p:nvPr/>
        </p:nvSpPr>
        <p:spPr>
          <a:xfrm>
            <a:off x="1200475" y="2085431"/>
            <a:ext cx="2700000" cy="923330"/>
          </a:xfrm>
          <a:prstGeom prst="rect">
            <a:avLst/>
          </a:prstGeom>
          <a:noFill/>
        </p:spPr>
        <p:txBody>
          <a:bodyPr wrap="square" lIns="0" rIns="0" rtlCol="0" anchor="t">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393939"/>
                </a:solidFill>
                <a:effectLst/>
                <a:uLnTx/>
                <a:uFillTx/>
              </a:rPr>
              <a:t>Focus on solving client’s </a:t>
            </a:r>
            <a:r>
              <a:rPr kumimoji="0" lang="en-US" b="1" i="0" u="none" strike="noStrike" kern="0" cap="none" spc="0" normalizeH="0" baseline="0" noProof="0" dirty="0">
                <a:ln>
                  <a:noFill/>
                </a:ln>
                <a:solidFill>
                  <a:srgbClr val="393939"/>
                </a:solidFill>
                <a:effectLst/>
                <a:uLnTx/>
                <a:uFillTx/>
              </a:rPr>
              <a:t>business </a:t>
            </a:r>
            <a:r>
              <a:rPr kumimoji="0" lang="en-US" b="0" i="0" u="none" strike="noStrike" kern="0" cap="none" spc="0" normalizeH="0" baseline="0" noProof="0" dirty="0">
                <a:ln>
                  <a:noFill/>
                </a:ln>
                <a:solidFill>
                  <a:srgbClr val="393939"/>
                </a:solidFill>
                <a:effectLst/>
                <a:uLnTx/>
                <a:uFillTx/>
              </a:rPr>
              <a:t>problem</a:t>
            </a:r>
          </a:p>
        </p:txBody>
      </p:sp>
      <p:sp>
        <p:nvSpPr>
          <p:cNvPr id="32" name="TextBox 31">
            <a:extLst>
              <a:ext uri="{FF2B5EF4-FFF2-40B4-BE49-F238E27FC236}">
                <a16:creationId xmlns:a16="http://schemas.microsoft.com/office/drawing/2014/main" id="{F339236F-8558-414B-81DD-C69F73E5AB52}"/>
              </a:ext>
            </a:extLst>
          </p:cNvPr>
          <p:cNvSpPr txBox="1"/>
          <p:nvPr/>
        </p:nvSpPr>
        <p:spPr>
          <a:xfrm>
            <a:off x="1193800" y="3332885"/>
            <a:ext cx="2514713" cy="830997"/>
          </a:xfrm>
          <a:prstGeom prst="rect">
            <a:avLst/>
          </a:prstGeom>
          <a:noFill/>
        </p:spPr>
        <p:txBody>
          <a:bodyPr wrap="square" lIns="0" r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D70038"/>
                </a:solidFill>
                <a:effectLst/>
                <a:uLnTx/>
                <a:uFillTx/>
              </a:rPr>
              <a:t>Intellectual Curiosity</a:t>
            </a:r>
          </a:p>
        </p:txBody>
      </p:sp>
      <p:sp>
        <p:nvSpPr>
          <p:cNvPr id="33" name="TextBox 32">
            <a:extLst>
              <a:ext uri="{FF2B5EF4-FFF2-40B4-BE49-F238E27FC236}">
                <a16:creationId xmlns:a16="http://schemas.microsoft.com/office/drawing/2014/main" id="{A05251D0-7C28-314F-8A38-BB462F699DCE}"/>
              </a:ext>
            </a:extLst>
          </p:cNvPr>
          <p:cNvSpPr txBox="1"/>
          <p:nvPr/>
        </p:nvSpPr>
        <p:spPr>
          <a:xfrm>
            <a:off x="1193800" y="4220627"/>
            <a:ext cx="2700000" cy="646331"/>
          </a:xfrm>
          <a:prstGeom prst="rect">
            <a:avLst/>
          </a:prstGeom>
          <a:noFill/>
        </p:spPr>
        <p:txBody>
          <a:bodyPr wrap="square" lIns="0" rIns="0" rtlCol="0" anchor="t">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393939"/>
                </a:solidFill>
                <a:effectLst/>
                <a:uLnTx/>
                <a:uFillTx/>
              </a:rPr>
              <a:t>Be curious to learn more and new stuff</a:t>
            </a:r>
          </a:p>
        </p:txBody>
      </p:sp>
      <p:sp>
        <p:nvSpPr>
          <p:cNvPr id="34" name="Oval 33">
            <a:extLst>
              <a:ext uri="{FF2B5EF4-FFF2-40B4-BE49-F238E27FC236}">
                <a16:creationId xmlns:a16="http://schemas.microsoft.com/office/drawing/2014/main" id="{D7C21184-C263-4140-9AB5-B5F17D92EB90}"/>
              </a:ext>
            </a:extLst>
          </p:cNvPr>
          <p:cNvSpPr/>
          <p:nvPr/>
        </p:nvSpPr>
        <p:spPr>
          <a:xfrm>
            <a:off x="3794922" y="3636652"/>
            <a:ext cx="223462" cy="223462"/>
          </a:xfrm>
          <a:prstGeom prst="ellipse">
            <a:avLst/>
          </a:prstGeom>
          <a:solidFill>
            <a:srgbClr val="D70038"/>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497AF977-2D91-3849-8EF6-725CB096FA61}"/>
              </a:ext>
            </a:extLst>
          </p:cNvPr>
          <p:cNvSpPr/>
          <p:nvPr/>
        </p:nvSpPr>
        <p:spPr>
          <a:xfrm>
            <a:off x="3790511" y="1709447"/>
            <a:ext cx="223462" cy="223462"/>
          </a:xfrm>
          <a:prstGeom prst="ellipse">
            <a:avLst/>
          </a:prstGeom>
          <a:solidFill>
            <a:srgbClr val="F2F2F2"/>
          </a:solidFill>
          <a:ln w="25400" cap="flat" cmpd="sng" algn="ctr">
            <a:solidFill>
              <a:srgbClr val="136DBA"/>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AE5EE989-9578-0E4F-A084-151DE74AE25B}"/>
              </a:ext>
            </a:extLst>
          </p:cNvPr>
          <p:cNvSpPr/>
          <p:nvPr/>
        </p:nvSpPr>
        <p:spPr>
          <a:xfrm>
            <a:off x="8218390" y="3636652"/>
            <a:ext cx="223462" cy="223462"/>
          </a:xfrm>
          <a:prstGeom prst="ellipse">
            <a:avLst/>
          </a:prstGeom>
          <a:solidFill>
            <a:srgbClr val="51C3F1"/>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F120D972-4329-B347-963C-0ACDFDFF924E}"/>
              </a:ext>
            </a:extLst>
          </p:cNvPr>
          <p:cNvSpPr/>
          <p:nvPr/>
        </p:nvSpPr>
        <p:spPr>
          <a:xfrm>
            <a:off x="8173617" y="1709447"/>
            <a:ext cx="223462" cy="223462"/>
          </a:xfrm>
          <a:prstGeom prst="ellipse">
            <a:avLst/>
          </a:prstGeom>
          <a:solidFill>
            <a:srgbClr val="25326E"/>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38" name="Picture 37" descr="A picture containing blur&#10;&#10;Description automatically generated">
            <a:extLst>
              <a:ext uri="{FF2B5EF4-FFF2-40B4-BE49-F238E27FC236}">
                <a16:creationId xmlns:a16="http://schemas.microsoft.com/office/drawing/2014/main" id="{D1455037-745E-6241-87B3-79BC4E82460C}"/>
              </a:ext>
            </a:extLst>
          </p:cNvPr>
          <p:cNvPicPr>
            <a:picLocks noChangeAspect="1"/>
          </p:cNvPicPr>
          <p:nvPr/>
        </p:nvPicPr>
        <p:blipFill>
          <a:blip r:embed="rId2"/>
          <a:stretch>
            <a:fillRect/>
          </a:stretch>
        </p:blipFill>
        <p:spPr>
          <a:xfrm>
            <a:off x="5715661" y="4117847"/>
            <a:ext cx="758291" cy="758291"/>
          </a:xfrm>
          <a:prstGeom prst="rect">
            <a:avLst/>
          </a:prstGeom>
        </p:spPr>
      </p:pic>
    </p:spTree>
    <p:extLst>
      <p:ext uri="{BB962C8B-B14F-4D97-AF65-F5344CB8AC3E}">
        <p14:creationId xmlns:p14="http://schemas.microsoft.com/office/powerpoint/2010/main" val="3014383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C790E9D-4995-4708-AFC6-BC093DEE1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8" name="Object 7" hidden="1">
                        <a:extLst>
                          <a:ext uri="{FF2B5EF4-FFF2-40B4-BE49-F238E27FC236}">
                            <a16:creationId xmlns:a16="http://schemas.microsoft.com/office/drawing/2014/main" id="{4C790E9D-4995-4708-AFC6-BC093DEE19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368662-5203-46A3-9059-FA05A848E3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kumimoji="0" lang="en-GB" sz="2200" b="1" u="none" strike="noStrike" kern="1200" cap="none" spc="0" normalizeH="0" noProof="0" dirty="0">
              <a:ln>
                <a:noFill/>
              </a:ln>
              <a:solidFill>
                <a:prstClr val="white"/>
              </a:solidFill>
              <a:effectLst/>
              <a:uLnTx/>
              <a:uFillTx/>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6088D949-D385-46C9-8BCE-1217080A4FA1}"/>
              </a:ext>
            </a:extLst>
          </p:cNvPr>
          <p:cNvSpPr>
            <a:spLocks noGrp="1"/>
          </p:cNvSpPr>
          <p:nvPr>
            <p:ph type="title"/>
          </p:nvPr>
        </p:nvSpPr>
        <p:spPr/>
        <p:txBody>
          <a:bodyPr/>
          <a:lstStyle/>
          <a:p>
            <a:r>
              <a:rPr lang="en-US" dirty="0">
                <a:solidFill>
                  <a:srgbClr val="D70038"/>
                </a:solidFill>
              </a:rPr>
              <a:t>We work across AI lifecycle </a:t>
            </a:r>
            <a:endParaRPr lang="en-GB" dirty="0">
              <a:solidFill>
                <a:srgbClr val="D70038"/>
              </a:solidFill>
            </a:endParaRPr>
          </a:p>
        </p:txBody>
      </p:sp>
      <p:sp>
        <p:nvSpPr>
          <p:cNvPr id="2" name="Slide Number Placeholder 1">
            <a:extLst>
              <a:ext uri="{FF2B5EF4-FFF2-40B4-BE49-F238E27FC236}">
                <a16:creationId xmlns:a16="http://schemas.microsoft.com/office/drawing/2014/main" id="{33CF699B-AF51-A640-B708-8CC858206D15}"/>
              </a:ext>
            </a:extLst>
          </p:cNvPr>
          <p:cNvSpPr>
            <a:spLocks noGrp="1"/>
          </p:cNvSpPr>
          <p:nvPr>
            <p:ph type="sldNum" sz="quarter" idx="4"/>
          </p:nvPr>
        </p:nvSpPr>
        <p:spPr/>
        <p:txBody>
          <a:bodyPr/>
          <a:lstStyle/>
          <a:p>
            <a:pPr defTabSz="457200"/>
            <a:fld id="{33B05D85-7E10-5D4F-A75C-A55D283254FB}" type="slidenum">
              <a:rPr lang="en-US" smtClean="0"/>
              <a:pPr defTabSz="457200"/>
              <a:t>5</a:t>
            </a:fld>
            <a:endParaRPr lang="en-US" dirty="0"/>
          </a:p>
        </p:txBody>
      </p:sp>
      <p:sp>
        <p:nvSpPr>
          <p:cNvPr id="9" name="Rectangle 8">
            <a:extLst>
              <a:ext uri="{FF2B5EF4-FFF2-40B4-BE49-F238E27FC236}">
                <a16:creationId xmlns:a16="http://schemas.microsoft.com/office/drawing/2014/main" id="{AA6731C6-DF2E-419E-B27D-E4F976AA3C0D}"/>
              </a:ext>
            </a:extLst>
          </p:cNvPr>
          <p:cNvSpPr/>
          <p:nvPr/>
        </p:nvSpPr>
        <p:spPr>
          <a:xfrm>
            <a:off x="614462" y="1422228"/>
            <a:ext cx="3523268" cy="43417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sz="1100" b="1" dirty="0">
              <a:solidFill>
                <a:srgbClr val="485256"/>
              </a:solidFill>
            </a:endParaRPr>
          </a:p>
        </p:txBody>
      </p:sp>
      <p:sp>
        <p:nvSpPr>
          <p:cNvPr id="10" name="Round Same Side Corner Rectangle 9">
            <a:extLst>
              <a:ext uri="{FF2B5EF4-FFF2-40B4-BE49-F238E27FC236}">
                <a16:creationId xmlns:a16="http://schemas.microsoft.com/office/drawing/2014/main" id="{2B3955EE-3526-4CE8-9FE5-0ACF308D5B13}"/>
              </a:ext>
            </a:extLst>
          </p:cNvPr>
          <p:cNvSpPr/>
          <p:nvPr/>
        </p:nvSpPr>
        <p:spPr>
          <a:xfrm flipV="1">
            <a:off x="1085249" y="1228282"/>
            <a:ext cx="2581697" cy="1454144"/>
          </a:xfrm>
          <a:prstGeom prst="round2Same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11" name="Right Triangle 10">
            <a:extLst>
              <a:ext uri="{FF2B5EF4-FFF2-40B4-BE49-F238E27FC236}">
                <a16:creationId xmlns:a16="http://schemas.microsoft.com/office/drawing/2014/main" id="{37DB2A29-F3DE-43F0-BAB8-EF6835237834}"/>
              </a:ext>
            </a:extLst>
          </p:cNvPr>
          <p:cNvSpPr/>
          <p:nvPr/>
        </p:nvSpPr>
        <p:spPr>
          <a:xfrm flipH="1">
            <a:off x="882952" y="1228284"/>
            <a:ext cx="202297" cy="196604"/>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12" name="Right Triangle 11">
            <a:extLst>
              <a:ext uri="{FF2B5EF4-FFF2-40B4-BE49-F238E27FC236}">
                <a16:creationId xmlns:a16="http://schemas.microsoft.com/office/drawing/2014/main" id="{E1622742-FE07-4DB2-95A4-F2C395D0B91E}"/>
              </a:ext>
            </a:extLst>
          </p:cNvPr>
          <p:cNvSpPr/>
          <p:nvPr/>
        </p:nvSpPr>
        <p:spPr>
          <a:xfrm>
            <a:off x="3666944" y="1228284"/>
            <a:ext cx="202297" cy="196604"/>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13" name="Rectangle 12">
            <a:extLst>
              <a:ext uri="{FF2B5EF4-FFF2-40B4-BE49-F238E27FC236}">
                <a16:creationId xmlns:a16="http://schemas.microsoft.com/office/drawing/2014/main" id="{1F41AFDC-416A-4D27-9936-551F5496D387}"/>
              </a:ext>
            </a:extLst>
          </p:cNvPr>
          <p:cNvSpPr/>
          <p:nvPr/>
        </p:nvSpPr>
        <p:spPr>
          <a:xfrm>
            <a:off x="785274" y="3501231"/>
            <a:ext cx="3195526" cy="212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lnSpc>
                <a:spcPct val="120000"/>
              </a:lnSpc>
              <a:spcBef>
                <a:spcPts val="1200"/>
              </a:spcBef>
              <a:spcAft>
                <a:spcPts val="1350"/>
              </a:spcAft>
              <a:buClr>
                <a:srgbClr val="004684"/>
              </a:buClr>
              <a:defRPr/>
            </a:pPr>
            <a:r>
              <a:rPr lang="en-US" sz="1600" dirty="0">
                <a:solidFill>
                  <a:schemeClr val="tx1"/>
                </a:solidFill>
              </a:rPr>
              <a:t>Ingest data sources, build and manage data infrastructure</a:t>
            </a:r>
          </a:p>
        </p:txBody>
      </p:sp>
      <p:sp>
        <p:nvSpPr>
          <p:cNvPr id="14" name="Rectangle 13">
            <a:extLst>
              <a:ext uri="{FF2B5EF4-FFF2-40B4-BE49-F238E27FC236}">
                <a16:creationId xmlns:a16="http://schemas.microsoft.com/office/drawing/2014/main" id="{98A12AF5-2352-4E38-96AB-36A8A941182B}"/>
              </a:ext>
            </a:extLst>
          </p:cNvPr>
          <p:cNvSpPr/>
          <p:nvPr/>
        </p:nvSpPr>
        <p:spPr>
          <a:xfrm>
            <a:off x="614462" y="5716255"/>
            <a:ext cx="3523268" cy="477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sz="1100" b="1" dirty="0">
              <a:solidFill>
                <a:srgbClr val="485256"/>
              </a:solidFill>
            </a:endParaRPr>
          </a:p>
        </p:txBody>
      </p:sp>
      <p:sp>
        <p:nvSpPr>
          <p:cNvPr id="15" name="Rectangle 14">
            <a:extLst>
              <a:ext uri="{FF2B5EF4-FFF2-40B4-BE49-F238E27FC236}">
                <a16:creationId xmlns:a16="http://schemas.microsoft.com/office/drawing/2014/main" id="{1E8A9C29-9760-4493-8B5F-6E4E2F735ED7}"/>
              </a:ext>
            </a:extLst>
          </p:cNvPr>
          <p:cNvSpPr/>
          <p:nvPr/>
        </p:nvSpPr>
        <p:spPr>
          <a:xfrm>
            <a:off x="4357516" y="1422228"/>
            <a:ext cx="3523268" cy="43417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sz="1100" b="1" dirty="0">
              <a:solidFill>
                <a:srgbClr val="485256"/>
              </a:solidFill>
            </a:endParaRPr>
          </a:p>
        </p:txBody>
      </p:sp>
      <p:sp>
        <p:nvSpPr>
          <p:cNvPr id="16" name="Round Same Side Corner Rectangle 70">
            <a:extLst>
              <a:ext uri="{FF2B5EF4-FFF2-40B4-BE49-F238E27FC236}">
                <a16:creationId xmlns:a16="http://schemas.microsoft.com/office/drawing/2014/main" id="{269B48E9-E347-48A8-8163-95788859A61D}"/>
              </a:ext>
            </a:extLst>
          </p:cNvPr>
          <p:cNvSpPr/>
          <p:nvPr/>
        </p:nvSpPr>
        <p:spPr>
          <a:xfrm flipV="1">
            <a:off x="4828303" y="1228282"/>
            <a:ext cx="2581697" cy="1454144"/>
          </a:xfrm>
          <a:prstGeom prst="round2Same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17" name="Right Triangle 16">
            <a:extLst>
              <a:ext uri="{FF2B5EF4-FFF2-40B4-BE49-F238E27FC236}">
                <a16:creationId xmlns:a16="http://schemas.microsoft.com/office/drawing/2014/main" id="{973B57B0-5341-4D68-858A-CAF9D8E34F11}"/>
              </a:ext>
            </a:extLst>
          </p:cNvPr>
          <p:cNvSpPr/>
          <p:nvPr/>
        </p:nvSpPr>
        <p:spPr>
          <a:xfrm flipH="1">
            <a:off x="4626006" y="1228284"/>
            <a:ext cx="202297" cy="196604"/>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19" name="Right Triangle 18">
            <a:extLst>
              <a:ext uri="{FF2B5EF4-FFF2-40B4-BE49-F238E27FC236}">
                <a16:creationId xmlns:a16="http://schemas.microsoft.com/office/drawing/2014/main" id="{481B3195-0FA5-48A2-9893-86F56834A529}"/>
              </a:ext>
            </a:extLst>
          </p:cNvPr>
          <p:cNvSpPr/>
          <p:nvPr/>
        </p:nvSpPr>
        <p:spPr>
          <a:xfrm>
            <a:off x="7409998" y="1228284"/>
            <a:ext cx="202297" cy="196604"/>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20" name="Rectangle 19">
            <a:extLst>
              <a:ext uri="{FF2B5EF4-FFF2-40B4-BE49-F238E27FC236}">
                <a16:creationId xmlns:a16="http://schemas.microsoft.com/office/drawing/2014/main" id="{E4B33DAC-C995-41D9-8C88-8D7EEDF5CC47}"/>
              </a:ext>
            </a:extLst>
          </p:cNvPr>
          <p:cNvSpPr/>
          <p:nvPr/>
        </p:nvSpPr>
        <p:spPr>
          <a:xfrm>
            <a:off x="4528329" y="3501231"/>
            <a:ext cx="3195526" cy="212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lgn="ctr">
              <a:lnSpc>
                <a:spcPts val="2600"/>
              </a:lnSpc>
              <a:spcBef>
                <a:spcPts val="0"/>
              </a:spcBef>
              <a:spcAft>
                <a:spcPts val="0"/>
              </a:spcAft>
              <a:buClr>
                <a:srgbClr val="004684"/>
              </a:buClr>
              <a:defRPr/>
            </a:pPr>
            <a:r>
              <a:rPr lang="en-US" sz="1600" dirty="0">
                <a:solidFill>
                  <a:schemeClr val="tx1"/>
                </a:solidFill>
                <a:sym typeface="Wingdings" panose="05000000000000000000" pitchFamily="2" charset="2"/>
              </a:rPr>
              <a:t>Solve complex business problems by leveraging best-in-class quantitative algorithms and business frameworks</a:t>
            </a:r>
          </a:p>
        </p:txBody>
      </p:sp>
      <p:sp>
        <p:nvSpPr>
          <p:cNvPr id="21" name="Rectangle 20">
            <a:extLst>
              <a:ext uri="{FF2B5EF4-FFF2-40B4-BE49-F238E27FC236}">
                <a16:creationId xmlns:a16="http://schemas.microsoft.com/office/drawing/2014/main" id="{2472304F-F9CF-4360-889D-C20A6B820109}"/>
              </a:ext>
            </a:extLst>
          </p:cNvPr>
          <p:cNvSpPr/>
          <p:nvPr/>
        </p:nvSpPr>
        <p:spPr>
          <a:xfrm>
            <a:off x="4357516" y="5716255"/>
            <a:ext cx="3523268" cy="477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sz="1100" b="1" dirty="0">
              <a:solidFill>
                <a:srgbClr val="485256"/>
              </a:solidFill>
            </a:endParaRPr>
          </a:p>
        </p:txBody>
      </p:sp>
      <p:sp>
        <p:nvSpPr>
          <p:cNvPr id="22" name="Rectangle 21">
            <a:extLst>
              <a:ext uri="{FF2B5EF4-FFF2-40B4-BE49-F238E27FC236}">
                <a16:creationId xmlns:a16="http://schemas.microsoft.com/office/drawing/2014/main" id="{7DF3A032-9350-4DB4-891A-11814AE79F5C}"/>
              </a:ext>
            </a:extLst>
          </p:cNvPr>
          <p:cNvSpPr/>
          <p:nvPr/>
        </p:nvSpPr>
        <p:spPr>
          <a:xfrm>
            <a:off x="8100570" y="1422228"/>
            <a:ext cx="3523268" cy="43417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sz="1100" b="1" dirty="0">
              <a:solidFill>
                <a:srgbClr val="485256"/>
              </a:solidFill>
            </a:endParaRPr>
          </a:p>
        </p:txBody>
      </p:sp>
      <p:sp>
        <p:nvSpPr>
          <p:cNvPr id="23" name="Round Same Side Corner Rectangle 78">
            <a:extLst>
              <a:ext uri="{FF2B5EF4-FFF2-40B4-BE49-F238E27FC236}">
                <a16:creationId xmlns:a16="http://schemas.microsoft.com/office/drawing/2014/main" id="{B852416E-A4D4-443A-9501-E74C76EBEF76}"/>
              </a:ext>
            </a:extLst>
          </p:cNvPr>
          <p:cNvSpPr/>
          <p:nvPr/>
        </p:nvSpPr>
        <p:spPr>
          <a:xfrm flipV="1">
            <a:off x="8571357" y="1228282"/>
            <a:ext cx="2581697" cy="1454144"/>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24" name="Right Triangle 23">
            <a:extLst>
              <a:ext uri="{FF2B5EF4-FFF2-40B4-BE49-F238E27FC236}">
                <a16:creationId xmlns:a16="http://schemas.microsoft.com/office/drawing/2014/main" id="{C01A783E-B7B1-469E-A561-1B79856377FB}"/>
              </a:ext>
            </a:extLst>
          </p:cNvPr>
          <p:cNvSpPr/>
          <p:nvPr/>
        </p:nvSpPr>
        <p:spPr>
          <a:xfrm flipH="1">
            <a:off x="8369060" y="1228284"/>
            <a:ext cx="202297" cy="196604"/>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25" name="Right Triangle 24">
            <a:extLst>
              <a:ext uri="{FF2B5EF4-FFF2-40B4-BE49-F238E27FC236}">
                <a16:creationId xmlns:a16="http://schemas.microsoft.com/office/drawing/2014/main" id="{D50B4D8C-588D-40EF-97E9-BDC7B63CD3E5}"/>
              </a:ext>
            </a:extLst>
          </p:cNvPr>
          <p:cNvSpPr/>
          <p:nvPr/>
        </p:nvSpPr>
        <p:spPr>
          <a:xfrm>
            <a:off x="11153052" y="1228284"/>
            <a:ext cx="202297" cy="196604"/>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375467">
              <a:lnSpc>
                <a:spcPts val="2600"/>
              </a:lnSpc>
            </a:pPr>
            <a:endParaRPr lang="en-US" sz="1400" dirty="0">
              <a:solidFill>
                <a:srgbClr val="FFFFFF"/>
              </a:solidFill>
            </a:endParaRPr>
          </a:p>
        </p:txBody>
      </p:sp>
      <p:sp>
        <p:nvSpPr>
          <p:cNvPr id="26" name="Rectangle 25">
            <a:extLst>
              <a:ext uri="{FF2B5EF4-FFF2-40B4-BE49-F238E27FC236}">
                <a16:creationId xmlns:a16="http://schemas.microsoft.com/office/drawing/2014/main" id="{B3EBA313-A3FA-4888-AF1A-1B8EC90C6E18}"/>
              </a:ext>
            </a:extLst>
          </p:cNvPr>
          <p:cNvSpPr/>
          <p:nvPr/>
        </p:nvSpPr>
        <p:spPr>
          <a:xfrm>
            <a:off x="8271382" y="3501231"/>
            <a:ext cx="3195526" cy="212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lgn="ctr">
              <a:lnSpc>
                <a:spcPts val="2600"/>
              </a:lnSpc>
              <a:spcBef>
                <a:spcPts val="0"/>
              </a:spcBef>
              <a:spcAft>
                <a:spcPts val="0"/>
              </a:spcAft>
              <a:buClr>
                <a:srgbClr val="004684"/>
              </a:buClr>
              <a:defRPr/>
            </a:pPr>
            <a:r>
              <a:rPr lang="en-US" sz="1600" dirty="0">
                <a:solidFill>
                  <a:schemeClr val="tx1"/>
                </a:solidFill>
                <a:sym typeface="Wingdings" panose="05000000000000000000" pitchFamily="2" charset="2"/>
              </a:rPr>
              <a:t>Take innovation to the outposts; Implement and democratize AI by building applications used widely across organizations </a:t>
            </a:r>
          </a:p>
        </p:txBody>
      </p:sp>
      <p:sp>
        <p:nvSpPr>
          <p:cNvPr id="27" name="Rectangle 26">
            <a:extLst>
              <a:ext uri="{FF2B5EF4-FFF2-40B4-BE49-F238E27FC236}">
                <a16:creationId xmlns:a16="http://schemas.microsoft.com/office/drawing/2014/main" id="{958FA0B4-D58D-4034-9BC0-717B97B757E6}"/>
              </a:ext>
            </a:extLst>
          </p:cNvPr>
          <p:cNvSpPr/>
          <p:nvPr/>
        </p:nvSpPr>
        <p:spPr>
          <a:xfrm>
            <a:off x="8100570" y="5716255"/>
            <a:ext cx="3523268" cy="47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sz="1100" b="1" dirty="0">
              <a:solidFill>
                <a:srgbClr val="485256"/>
              </a:solidFill>
            </a:endParaRPr>
          </a:p>
        </p:txBody>
      </p:sp>
      <p:sp>
        <p:nvSpPr>
          <p:cNvPr id="28" name="Rectangle 27">
            <a:extLst>
              <a:ext uri="{FF2B5EF4-FFF2-40B4-BE49-F238E27FC236}">
                <a16:creationId xmlns:a16="http://schemas.microsoft.com/office/drawing/2014/main" id="{874A293C-76A4-4665-BCEE-7357D2884A94}"/>
              </a:ext>
            </a:extLst>
          </p:cNvPr>
          <p:cNvSpPr/>
          <p:nvPr/>
        </p:nvSpPr>
        <p:spPr>
          <a:xfrm>
            <a:off x="785274" y="3458712"/>
            <a:ext cx="3195526" cy="425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dirty="0">
              <a:solidFill>
                <a:schemeClr val="tx1"/>
              </a:solidFill>
              <a:sym typeface="Wingdings" panose="05000000000000000000" pitchFamily="2" charset="2"/>
            </a:endParaRPr>
          </a:p>
        </p:txBody>
      </p:sp>
      <p:sp>
        <p:nvSpPr>
          <p:cNvPr id="29" name="Rectangle 28">
            <a:extLst>
              <a:ext uri="{FF2B5EF4-FFF2-40B4-BE49-F238E27FC236}">
                <a16:creationId xmlns:a16="http://schemas.microsoft.com/office/drawing/2014/main" id="{30D6BECE-0BEC-44E2-9702-083A4137698F}"/>
              </a:ext>
            </a:extLst>
          </p:cNvPr>
          <p:cNvSpPr/>
          <p:nvPr/>
        </p:nvSpPr>
        <p:spPr>
          <a:xfrm>
            <a:off x="4528329" y="3458712"/>
            <a:ext cx="3195526" cy="425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dirty="0">
              <a:solidFill>
                <a:schemeClr val="tx1"/>
              </a:solidFill>
              <a:sym typeface="Wingdings" panose="05000000000000000000" pitchFamily="2" charset="2"/>
            </a:endParaRPr>
          </a:p>
        </p:txBody>
      </p:sp>
      <p:sp>
        <p:nvSpPr>
          <p:cNvPr id="30" name="Rectangle 29">
            <a:extLst>
              <a:ext uri="{FF2B5EF4-FFF2-40B4-BE49-F238E27FC236}">
                <a16:creationId xmlns:a16="http://schemas.microsoft.com/office/drawing/2014/main" id="{A157C096-3F38-49C2-B503-1899B1AD617F}"/>
              </a:ext>
            </a:extLst>
          </p:cNvPr>
          <p:cNvSpPr/>
          <p:nvPr/>
        </p:nvSpPr>
        <p:spPr>
          <a:xfrm>
            <a:off x="8271382" y="3458712"/>
            <a:ext cx="3195526" cy="425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ts val="2600"/>
              </a:lnSpc>
              <a:spcBef>
                <a:spcPts val="0"/>
              </a:spcBef>
              <a:spcAft>
                <a:spcPts val="0"/>
              </a:spcAft>
              <a:buClr>
                <a:srgbClr val="004684"/>
              </a:buClr>
              <a:defRPr/>
            </a:pPr>
            <a:endParaRPr lang="en-US" dirty="0">
              <a:solidFill>
                <a:schemeClr val="tx1"/>
              </a:solidFill>
              <a:sym typeface="Wingdings" panose="05000000000000000000" pitchFamily="2" charset="2"/>
            </a:endParaRPr>
          </a:p>
        </p:txBody>
      </p:sp>
      <p:grpSp>
        <p:nvGrpSpPr>
          <p:cNvPr id="31" name="Group 30">
            <a:extLst>
              <a:ext uri="{FF2B5EF4-FFF2-40B4-BE49-F238E27FC236}">
                <a16:creationId xmlns:a16="http://schemas.microsoft.com/office/drawing/2014/main" id="{96A5DF17-C6B0-45B0-AF4D-58B5FB2E0E5B}"/>
              </a:ext>
            </a:extLst>
          </p:cNvPr>
          <p:cNvGrpSpPr/>
          <p:nvPr/>
        </p:nvGrpSpPr>
        <p:grpSpPr>
          <a:xfrm>
            <a:off x="1853341" y="1414732"/>
            <a:ext cx="1045512" cy="1081244"/>
            <a:chOff x="1809764" y="1405738"/>
            <a:chExt cx="1111236" cy="1111236"/>
          </a:xfrm>
        </p:grpSpPr>
        <p:sp>
          <p:nvSpPr>
            <p:cNvPr id="32" name="Oval 31">
              <a:extLst>
                <a:ext uri="{FF2B5EF4-FFF2-40B4-BE49-F238E27FC236}">
                  <a16:creationId xmlns:a16="http://schemas.microsoft.com/office/drawing/2014/main" id="{5A6EE884-46EE-4A82-93EB-58250894F004}"/>
                </a:ext>
              </a:extLst>
            </p:cNvPr>
            <p:cNvSpPr/>
            <p:nvPr/>
          </p:nvSpPr>
          <p:spPr>
            <a:xfrm>
              <a:off x="1809764" y="1405738"/>
              <a:ext cx="1111236" cy="1111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600"/>
                </a:lnSpc>
              </a:pPr>
              <a:endParaRPr lang="en-US"/>
            </a:p>
          </p:txBody>
        </p:sp>
        <p:sp>
          <p:nvSpPr>
            <p:cNvPr id="33" name="Oval 50">
              <a:extLst>
                <a:ext uri="{FF2B5EF4-FFF2-40B4-BE49-F238E27FC236}">
                  <a16:creationId xmlns:a16="http://schemas.microsoft.com/office/drawing/2014/main" id="{30D7184C-13E9-4D83-8E87-170DA24BBF06}"/>
                </a:ext>
              </a:extLst>
            </p:cNvPr>
            <p:cNvSpPr>
              <a:spLocks noChangeAspect="1"/>
            </p:cNvSpPr>
            <p:nvPr/>
          </p:nvSpPr>
          <p:spPr>
            <a:xfrm>
              <a:off x="2096106" y="1649412"/>
              <a:ext cx="552388" cy="623888"/>
            </a:xfrm>
            <a:custGeom>
              <a:avLst/>
              <a:gdLst/>
              <a:ahLst/>
              <a:cxnLst/>
              <a:rect l="l" t="t" r="r" b="b"/>
              <a:pathLst>
                <a:path w="2868687" h="3240000">
                  <a:moveTo>
                    <a:pt x="1433799" y="2290728"/>
                  </a:moveTo>
                  <a:cubicBezTo>
                    <a:pt x="1317650" y="2346839"/>
                    <a:pt x="1203301" y="2394700"/>
                    <a:pt x="1093028" y="2434329"/>
                  </a:cubicBezTo>
                  <a:cubicBezTo>
                    <a:pt x="1167481" y="2812207"/>
                    <a:pt x="1292592" y="3060000"/>
                    <a:pt x="1434343" y="3060000"/>
                  </a:cubicBezTo>
                  <a:cubicBezTo>
                    <a:pt x="1576138" y="3060000"/>
                    <a:pt x="1701284" y="2812053"/>
                    <a:pt x="1774025" y="2433735"/>
                  </a:cubicBezTo>
                  <a:cubicBezTo>
                    <a:pt x="1663854" y="2394452"/>
                    <a:pt x="1549823" y="2346469"/>
                    <a:pt x="1433799" y="2290728"/>
                  </a:cubicBezTo>
                  <a:close/>
                  <a:moveTo>
                    <a:pt x="1824954" y="2078037"/>
                  </a:moveTo>
                  <a:cubicBezTo>
                    <a:pt x="1794480" y="2097450"/>
                    <a:pt x="1763147" y="2116057"/>
                    <a:pt x="1731343" y="2134419"/>
                  </a:cubicBezTo>
                  <a:lnTo>
                    <a:pt x="1635415" y="2187161"/>
                  </a:lnTo>
                  <a:cubicBezTo>
                    <a:pt x="1691788" y="2215044"/>
                    <a:pt x="1747931" y="2239109"/>
                    <a:pt x="1803378" y="2259350"/>
                  </a:cubicBezTo>
                  <a:cubicBezTo>
                    <a:pt x="1812120" y="2201101"/>
                    <a:pt x="1819148" y="2140526"/>
                    <a:pt x="1824954" y="2078037"/>
                  </a:cubicBezTo>
                  <a:close/>
                  <a:moveTo>
                    <a:pt x="1042306" y="2077178"/>
                  </a:moveTo>
                  <a:cubicBezTo>
                    <a:pt x="1047949" y="2140175"/>
                    <a:pt x="1055328" y="2201182"/>
                    <a:pt x="1063873" y="2259905"/>
                  </a:cubicBezTo>
                  <a:cubicBezTo>
                    <a:pt x="1119365" y="2238275"/>
                    <a:pt x="1176217" y="2214355"/>
                    <a:pt x="1233887" y="2187801"/>
                  </a:cubicBezTo>
                  <a:cubicBezTo>
                    <a:pt x="1201538" y="2170955"/>
                    <a:pt x="1169452" y="2152957"/>
                    <a:pt x="1137343" y="2134419"/>
                  </a:cubicBezTo>
                  <a:close/>
                  <a:moveTo>
                    <a:pt x="559768" y="1732679"/>
                  </a:moveTo>
                  <a:cubicBezTo>
                    <a:pt x="268524" y="1984850"/>
                    <a:pt x="116369" y="2217202"/>
                    <a:pt x="187266" y="2340000"/>
                  </a:cubicBezTo>
                  <a:cubicBezTo>
                    <a:pt x="258144" y="2462764"/>
                    <a:pt x="535307" y="2447213"/>
                    <a:pt x="899736" y="2322555"/>
                  </a:cubicBezTo>
                  <a:cubicBezTo>
                    <a:pt x="878937" y="2207297"/>
                    <a:pt x="863223" y="2084405"/>
                    <a:pt x="853746" y="1955834"/>
                  </a:cubicBezTo>
                  <a:cubicBezTo>
                    <a:pt x="747454" y="1883220"/>
                    <a:pt x="648878" y="1808453"/>
                    <a:pt x="559768" y="1732679"/>
                  </a:cubicBezTo>
                  <a:close/>
                  <a:moveTo>
                    <a:pt x="2309048" y="1730507"/>
                  </a:moveTo>
                  <a:cubicBezTo>
                    <a:pt x="2220666" y="1807660"/>
                    <a:pt x="2121792" y="1882664"/>
                    <a:pt x="2015235" y="1955625"/>
                  </a:cubicBezTo>
                  <a:cubicBezTo>
                    <a:pt x="2005364" y="2084180"/>
                    <a:pt x="1989894" y="2207119"/>
                    <a:pt x="1967330" y="2322070"/>
                  </a:cubicBezTo>
                  <a:lnTo>
                    <a:pt x="2081685" y="2358048"/>
                  </a:lnTo>
                  <a:cubicBezTo>
                    <a:pt x="2116015" y="2320492"/>
                    <a:pt x="2165526" y="2297468"/>
                    <a:pt x="2220415" y="2297468"/>
                  </a:cubicBezTo>
                  <a:cubicBezTo>
                    <a:pt x="2302230" y="2297468"/>
                    <a:pt x="2372097" y="2348622"/>
                    <a:pt x="2399287" y="2420880"/>
                  </a:cubicBezTo>
                  <a:cubicBezTo>
                    <a:pt x="2542053" y="2432945"/>
                    <a:pt x="2642630" y="2407186"/>
                    <a:pt x="2681420" y="2340000"/>
                  </a:cubicBezTo>
                  <a:cubicBezTo>
                    <a:pt x="2752393" y="2217071"/>
                    <a:pt x="2599836" y="1984353"/>
                    <a:pt x="2309048" y="1730507"/>
                  </a:cubicBezTo>
                  <a:close/>
                  <a:moveTo>
                    <a:pt x="2026056" y="1510554"/>
                  </a:moveTo>
                  <a:cubicBezTo>
                    <a:pt x="2027893" y="1546708"/>
                    <a:pt x="2028343" y="1583211"/>
                    <a:pt x="2028343" y="1620000"/>
                  </a:cubicBezTo>
                  <a:lnTo>
                    <a:pt x="2024251" y="1730716"/>
                  </a:lnTo>
                  <a:lnTo>
                    <a:pt x="2173722" y="1619092"/>
                  </a:lnTo>
                  <a:cubicBezTo>
                    <a:pt x="2127526" y="1582190"/>
                    <a:pt x="2078507" y="1545517"/>
                    <a:pt x="2026056" y="1510554"/>
                  </a:cubicBezTo>
                  <a:close/>
                  <a:moveTo>
                    <a:pt x="844436" y="1509285"/>
                  </a:moveTo>
                  <a:lnTo>
                    <a:pt x="694964" y="1620908"/>
                  </a:lnTo>
                  <a:cubicBezTo>
                    <a:pt x="741160" y="1657811"/>
                    <a:pt x="790179" y="1694484"/>
                    <a:pt x="842630" y="1729447"/>
                  </a:cubicBezTo>
                  <a:cubicBezTo>
                    <a:pt x="840793" y="1693293"/>
                    <a:pt x="840343" y="1656790"/>
                    <a:pt x="840343" y="1620000"/>
                  </a:cubicBezTo>
                  <a:close/>
                  <a:moveTo>
                    <a:pt x="1434343" y="1361184"/>
                  </a:moveTo>
                  <a:cubicBezTo>
                    <a:pt x="1573534" y="1361184"/>
                    <a:pt x="1686371" y="1474021"/>
                    <a:pt x="1686371" y="1613212"/>
                  </a:cubicBezTo>
                  <a:cubicBezTo>
                    <a:pt x="1686371" y="1752403"/>
                    <a:pt x="1573534" y="1865240"/>
                    <a:pt x="1434343" y="1865240"/>
                  </a:cubicBezTo>
                  <a:cubicBezTo>
                    <a:pt x="1295152" y="1865240"/>
                    <a:pt x="1182315" y="1752403"/>
                    <a:pt x="1182315" y="1613212"/>
                  </a:cubicBezTo>
                  <a:cubicBezTo>
                    <a:pt x="1182315" y="1474021"/>
                    <a:pt x="1295152" y="1361184"/>
                    <a:pt x="1434343" y="1361184"/>
                  </a:cubicBezTo>
                  <a:close/>
                  <a:moveTo>
                    <a:pt x="1433770" y="1149513"/>
                  </a:moveTo>
                  <a:cubicBezTo>
                    <a:pt x="1365445" y="1183896"/>
                    <a:pt x="1296585" y="1221489"/>
                    <a:pt x="1227343" y="1261466"/>
                  </a:cubicBezTo>
                  <a:lnTo>
                    <a:pt x="1027157" y="1384911"/>
                  </a:lnTo>
                  <a:cubicBezTo>
                    <a:pt x="1022222" y="1461370"/>
                    <a:pt x="1020343" y="1539922"/>
                    <a:pt x="1020343" y="1620000"/>
                  </a:cubicBezTo>
                  <a:lnTo>
                    <a:pt x="1028287" y="1855786"/>
                  </a:lnTo>
                  <a:cubicBezTo>
                    <a:pt x="1091680" y="1898065"/>
                    <a:pt x="1158394" y="1938727"/>
                    <a:pt x="1227343" y="1978535"/>
                  </a:cubicBezTo>
                  <a:lnTo>
                    <a:pt x="1434916" y="2090488"/>
                  </a:lnTo>
                  <a:cubicBezTo>
                    <a:pt x="1503241" y="2056105"/>
                    <a:pt x="1572101" y="2018511"/>
                    <a:pt x="1641343" y="1978535"/>
                  </a:cubicBezTo>
                  <a:lnTo>
                    <a:pt x="1841530" y="1855090"/>
                  </a:lnTo>
                  <a:cubicBezTo>
                    <a:pt x="1846464" y="1778631"/>
                    <a:pt x="1848343" y="1700079"/>
                    <a:pt x="1848343" y="1620000"/>
                  </a:cubicBezTo>
                  <a:lnTo>
                    <a:pt x="1840399" y="1384214"/>
                  </a:lnTo>
                  <a:cubicBezTo>
                    <a:pt x="1777006" y="1341936"/>
                    <a:pt x="1710293" y="1301274"/>
                    <a:pt x="1641343" y="1261466"/>
                  </a:cubicBezTo>
                  <a:close/>
                  <a:moveTo>
                    <a:pt x="1065308" y="980650"/>
                  </a:moveTo>
                  <a:cubicBezTo>
                    <a:pt x="1056566" y="1038899"/>
                    <a:pt x="1049538" y="1099475"/>
                    <a:pt x="1043732" y="1161964"/>
                  </a:cubicBezTo>
                  <a:cubicBezTo>
                    <a:pt x="1074206" y="1142551"/>
                    <a:pt x="1105539" y="1123943"/>
                    <a:pt x="1137343" y="1105581"/>
                  </a:cubicBezTo>
                  <a:lnTo>
                    <a:pt x="1233271" y="1052839"/>
                  </a:lnTo>
                  <a:cubicBezTo>
                    <a:pt x="1176898" y="1024957"/>
                    <a:pt x="1120756" y="1000892"/>
                    <a:pt x="1065308" y="980650"/>
                  </a:cubicBezTo>
                  <a:close/>
                  <a:moveTo>
                    <a:pt x="1804814" y="980095"/>
                  </a:moveTo>
                  <a:cubicBezTo>
                    <a:pt x="1749321" y="1001726"/>
                    <a:pt x="1692469" y="1025646"/>
                    <a:pt x="1634800" y="1052200"/>
                  </a:cubicBezTo>
                  <a:cubicBezTo>
                    <a:pt x="1667149" y="1069046"/>
                    <a:pt x="1699234" y="1087043"/>
                    <a:pt x="1731343" y="1105581"/>
                  </a:cubicBezTo>
                  <a:lnTo>
                    <a:pt x="1826380" y="1162822"/>
                  </a:lnTo>
                  <a:cubicBezTo>
                    <a:pt x="1820738" y="1099825"/>
                    <a:pt x="1813359" y="1038819"/>
                    <a:pt x="1804814" y="980095"/>
                  </a:cubicBezTo>
                  <a:close/>
                  <a:moveTo>
                    <a:pt x="2432236" y="816002"/>
                  </a:moveTo>
                  <a:cubicBezTo>
                    <a:pt x="2308930" y="820546"/>
                    <a:pt x="2149627" y="855445"/>
                    <a:pt x="1968950" y="917446"/>
                  </a:cubicBezTo>
                  <a:cubicBezTo>
                    <a:pt x="1989749" y="1032703"/>
                    <a:pt x="2005463" y="1155596"/>
                    <a:pt x="2014941" y="1284167"/>
                  </a:cubicBezTo>
                  <a:cubicBezTo>
                    <a:pt x="2121232" y="1356780"/>
                    <a:pt x="2219808" y="1431548"/>
                    <a:pt x="2308918" y="1507322"/>
                  </a:cubicBezTo>
                  <a:cubicBezTo>
                    <a:pt x="2600162" y="1255150"/>
                    <a:pt x="2752317" y="1022798"/>
                    <a:pt x="2681420" y="900000"/>
                  </a:cubicBezTo>
                  <a:cubicBezTo>
                    <a:pt x="2645694" y="838121"/>
                    <a:pt x="2557557" y="811383"/>
                    <a:pt x="2432236" y="816002"/>
                  </a:cubicBezTo>
                  <a:close/>
                  <a:moveTo>
                    <a:pt x="436450" y="816001"/>
                  </a:moveTo>
                  <a:cubicBezTo>
                    <a:pt x="311129" y="811383"/>
                    <a:pt x="222992" y="838121"/>
                    <a:pt x="187266" y="900000"/>
                  </a:cubicBezTo>
                  <a:cubicBezTo>
                    <a:pt x="158404" y="949991"/>
                    <a:pt x="166508" y="1018139"/>
                    <a:pt x="206887" y="1097970"/>
                  </a:cubicBezTo>
                  <a:cubicBezTo>
                    <a:pt x="213842" y="1096217"/>
                    <a:pt x="221021" y="1095812"/>
                    <a:pt x="228294" y="1095812"/>
                  </a:cubicBezTo>
                  <a:cubicBezTo>
                    <a:pt x="334372" y="1095812"/>
                    <a:pt x="420366" y="1181806"/>
                    <a:pt x="420366" y="1287884"/>
                  </a:cubicBezTo>
                  <a:cubicBezTo>
                    <a:pt x="420366" y="1314219"/>
                    <a:pt x="415066" y="1339317"/>
                    <a:pt x="405427" y="1362148"/>
                  </a:cubicBezTo>
                  <a:cubicBezTo>
                    <a:pt x="450585" y="1410442"/>
                    <a:pt x="502437" y="1459559"/>
                    <a:pt x="559639" y="1509493"/>
                  </a:cubicBezTo>
                  <a:cubicBezTo>
                    <a:pt x="648020" y="1432341"/>
                    <a:pt x="746894" y="1357336"/>
                    <a:pt x="853451" y="1284376"/>
                  </a:cubicBezTo>
                  <a:cubicBezTo>
                    <a:pt x="863322" y="1155820"/>
                    <a:pt x="878792" y="1032881"/>
                    <a:pt x="901357" y="917930"/>
                  </a:cubicBezTo>
                  <a:cubicBezTo>
                    <a:pt x="719999" y="855651"/>
                    <a:pt x="560119" y="820559"/>
                    <a:pt x="436450" y="816001"/>
                  </a:cubicBezTo>
                  <a:close/>
                  <a:moveTo>
                    <a:pt x="1434343" y="180000"/>
                  </a:moveTo>
                  <a:cubicBezTo>
                    <a:pt x="1292548" y="180000"/>
                    <a:pt x="1167402" y="427948"/>
                    <a:pt x="1094661" y="806265"/>
                  </a:cubicBezTo>
                  <a:cubicBezTo>
                    <a:pt x="1204832" y="845548"/>
                    <a:pt x="1318864" y="893532"/>
                    <a:pt x="1434887" y="949272"/>
                  </a:cubicBezTo>
                  <a:cubicBezTo>
                    <a:pt x="1551037" y="893162"/>
                    <a:pt x="1665385" y="845301"/>
                    <a:pt x="1775658" y="805671"/>
                  </a:cubicBezTo>
                  <a:cubicBezTo>
                    <a:pt x="1751860" y="684885"/>
                    <a:pt x="1722886" y="577390"/>
                    <a:pt x="1688823" y="487405"/>
                  </a:cubicBezTo>
                  <a:cubicBezTo>
                    <a:pt x="1688009" y="487647"/>
                    <a:pt x="1687191" y="487652"/>
                    <a:pt x="1686371" y="487652"/>
                  </a:cubicBezTo>
                  <a:cubicBezTo>
                    <a:pt x="1580293" y="487652"/>
                    <a:pt x="1494299" y="401658"/>
                    <a:pt x="1494299" y="295580"/>
                  </a:cubicBezTo>
                  <a:cubicBezTo>
                    <a:pt x="1494299" y="264819"/>
                    <a:pt x="1501530" y="235747"/>
                    <a:pt x="1516122" y="210837"/>
                  </a:cubicBezTo>
                  <a:cubicBezTo>
                    <a:pt x="1490583" y="189985"/>
                    <a:pt x="1462798" y="180000"/>
                    <a:pt x="1434343" y="180000"/>
                  </a:cubicBezTo>
                  <a:close/>
                  <a:moveTo>
                    <a:pt x="1434343" y="0"/>
                  </a:moveTo>
                  <a:cubicBezTo>
                    <a:pt x="1509303" y="0"/>
                    <a:pt x="1581019" y="37868"/>
                    <a:pt x="1646062" y="107907"/>
                  </a:cubicBezTo>
                  <a:cubicBezTo>
                    <a:pt x="1659037" y="104972"/>
                    <a:pt x="1672533" y="103508"/>
                    <a:pt x="1686371" y="103508"/>
                  </a:cubicBezTo>
                  <a:cubicBezTo>
                    <a:pt x="1792449" y="103508"/>
                    <a:pt x="1878443" y="189502"/>
                    <a:pt x="1878443" y="295580"/>
                  </a:cubicBezTo>
                  <a:cubicBezTo>
                    <a:pt x="1878443" y="342831"/>
                    <a:pt x="1861381" y="386097"/>
                    <a:pt x="1831228" y="417985"/>
                  </a:cubicBezTo>
                  <a:cubicBezTo>
                    <a:pt x="1871860" y="515668"/>
                    <a:pt x="1906636" y="628220"/>
                    <a:pt x="1935357" y="752219"/>
                  </a:cubicBezTo>
                  <a:cubicBezTo>
                    <a:pt x="2379384" y="616814"/>
                    <a:pt x="2731816" y="627289"/>
                    <a:pt x="2837304" y="810000"/>
                  </a:cubicBezTo>
                  <a:cubicBezTo>
                    <a:pt x="2942793" y="992711"/>
                    <a:pt x="2775650" y="1303161"/>
                    <a:pt x="2436521" y="1620139"/>
                  </a:cubicBezTo>
                  <a:cubicBezTo>
                    <a:pt x="2775698" y="1936928"/>
                    <a:pt x="2942777" y="2247316"/>
                    <a:pt x="2837304" y="2430000"/>
                  </a:cubicBezTo>
                  <a:cubicBezTo>
                    <a:pt x="2771439" y="2544083"/>
                    <a:pt x="2609300" y="2591017"/>
                    <a:pt x="2388706" y="2577188"/>
                  </a:cubicBezTo>
                  <a:cubicBezTo>
                    <a:pt x="2358753" y="2639691"/>
                    <a:pt x="2294480" y="2681612"/>
                    <a:pt x="2220415" y="2681612"/>
                  </a:cubicBezTo>
                  <a:cubicBezTo>
                    <a:pt x="2122541" y="2681612"/>
                    <a:pt x="2041764" y="2608405"/>
                    <a:pt x="2030773" y="2513644"/>
                  </a:cubicBezTo>
                  <a:cubicBezTo>
                    <a:pt x="1999304" y="2506661"/>
                    <a:pt x="1967635" y="2497623"/>
                    <a:pt x="1935485" y="2487821"/>
                  </a:cubicBezTo>
                  <a:cubicBezTo>
                    <a:pt x="1830610" y="2940018"/>
                    <a:pt x="1645322" y="3240000"/>
                    <a:pt x="1434343" y="3240000"/>
                  </a:cubicBezTo>
                  <a:cubicBezTo>
                    <a:pt x="1223366" y="3240000"/>
                    <a:pt x="1038079" y="2940023"/>
                    <a:pt x="933330" y="2487781"/>
                  </a:cubicBezTo>
                  <a:cubicBezTo>
                    <a:pt x="489302" y="2623186"/>
                    <a:pt x="136870" y="2612712"/>
                    <a:pt x="31382" y="2430000"/>
                  </a:cubicBezTo>
                  <a:cubicBezTo>
                    <a:pt x="-74106" y="2247290"/>
                    <a:pt x="93037" y="1936840"/>
                    <a:pt x="432165" y="1619862"/>
                  </a:cubicBezTo>
                  <a:cubicBezTo>
                    <a:pt x="378689" y="1569916"/>
                    <a:pt x="329491" y="1520128"/>
                    <a:pt x="285801" y="1470219"/>
                  </a:cubicBezTo>
                  <a:cubicBezTo>
                    <a:pt x="267844" y="1476857"/>
                    <a:pt x="248431" y="1479956"/>
                    <a:pt x="228294" y="1479956"/>
                  </a:cubicBezTo>
                  <a:cubicBezTo>
                    <a:pt x="122216" y="1479956"/>
                    <a:pt x="36222" y="1393962"/>
                    <a:pt x="36222" y="1287884"/>
                  </a:cubicBezTo>
                  <a:cubicBezTo>
                    <a:pt x="36222" y="1246866"/>
                    <a:pt x="49080" y="1208850"/>
                    <a:pt x="73868" y="1179672"/>
                  </a:cubicBezTo>
                  <a:cubicBezTo>
                    <a:pt x="-4733" y="1033688"/>
                    <a:pt x="-23287" y="904690"/>
                    <a:pt x="31382" y="810000"/>
                  </a:cubicBezTo>
                  <a:cubicBezTo>
                    <a:pt x="136860" y="627306"/>
                    <a:pt x="489234" y="616816"/>
                    <a:pt x="933201" y="752179"/>
                  </a:cubicBezTo>
                  <a:cubicBezTo>
                    <a:pt x="1038076" y="299982"/>
                    <a:pt x="1223365" y="0"/>
                    <a:pt x="143434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34" name="Group 33">
            <a:extLst>
              <a:ext uri="{FF2B5EF4-FFF2-40B4-BE49-F238E27FC236}">
                <a16:creationId xmlns:a16="http://schemas.microsoft.com/office/drawing/2014/main" id="{41BE9F89-A356-48D1-9787-B52F493E5FCD}"/>
              </a:ext>
            </a:extLst>
          </p:cNvPr>
          <p:cNvGrpSpPr/>
          <p:nvPr/>
        </p:nvGrpSpPr>
        <p:grpSpPr>
          <a:xfrm>
            <a:off x="5596396" y="1414732"/>
            <a:ext cx="1045512" cy="1081244"/>
            <a:chOff x="5540383" y="1405738"/>
            <a:chExt cx="1111236" cy="1111236"/>
          </a:xfrm>
        </p:grpSpPr>
        <p:sp>
          <p:nvSpPr>
            <p:cNvPr id="35" name="Oval 34">
              <a:extLst>
                <a:ext uri="{FF2B5EF4-FFF2-40B4-BE49-F238E27FC236}">
                  <a16:creationId xmlns:a16="http://schemas.microsoft.com/office/drawing/2014/main" id="{1AED4F1C-1334-40F8-984C-CF97B58C8DB6}"/>
                </a:ext>
              </a:extLst>
            </p:cNvPr>
            <p:cNvSpPr/>
            <p:nvPr/>
          </p:nvSpPr>
          <p:spPr>
            <a:xfrm>
              <a:off x="5540383" y="1405738"/>
              <a:ext cx="1111236" cy="1111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600"/>
                </a:lnSpc>
              </a:pPr>
              <a:endParaRPr lang="en-US"/>
            </a:p>
          </p:txBody>
        </p:sp>
        <p:grpSp>
          <p:nvGrpSpPr>
            <p:cNvPr id="36" name="Group 35">
              <a:extLst>
                <a:ext uri="{FF2B5EF4-FFF2-40B4-BE49-F238E27FC236}">
                  <a16:creationId xmlns:a16="http://schemas.microsoft.com/office/drawing/2014/main" id="{8AFA76FB-0BB2-449A-B0DB-02B524F9935B}"/>
                </a:ext>
              </a:extLst>
            </p:cNvPr>
            <p:cNvGrpSpPr/>
            <p:nvPr/>
          </p:nvGrpSpPr>
          <p:grpSpPr>
            <a:xfrm>
              <a:off x="5845073" y="1684079"/>
              <a:ext cx="501857" cy="554554"/>
              <a:chOff x="6530891" y="5970712"/>
              <a:chExt cx="501857" cy="554554"/>
            </a:xfrm>
            <a:solidFill>
              <a:schemeClr val="accent1"/>
            </a:solidFill>
          </p:grpSpPr>
          <p:sp>
            <p:nvSpPr>
              <p:cNvPr id="37" name="Freeform 111">
                <a:extLst>
                  <a:ext uri="{FF2B5EF4-FFF2-40B4-BE49-F238E27FC236}">
                    <a16:creationId xmlns:a16="http://schemas.microsoft.com/office/drawing/2014/main" id="{1BD3317F-4830-4061-A3B9-3CABAAFD5771}"/>
                  </a:ext>
                </a:extLst>
              </p:cNvPr>
              <p:cNvSpPr/>
              <p:nvPr/>
            </p:nvSpPr>
            <p:spPr>
              <a:xfrm>
                <a:off x="6530891" y="5970712"/>
                <a:ext cx="501857" cy="554554"/>
              </a:xfrm>
              <a:custGeom>
                <a:avLst/>
                <a:gdLst>
                  <a:gd name="connsiteX0" fmla="*/ 3030279 w 4784651"/>
                  <a:gd name="connsiteY0" fmla="*/ 0 h 5890437"/>
                  <a:gd name="connsiteX1" fmla="*/ 765544 w 4784651"/>
                  <a:gd name="connsiteY1" fmla="*/ 1935126 h 5890437"/>
                  <a:gd name="connsiteX2" fmla="*/ 0 w 4784651"/>
                  <a:gd name="connsiteY2" fmla="*/ 3051544 h 5890437"/>
                  <a:gd name="connsiteX3" fmla="*/ 510363 w 4784651"/>
                  <a:gd name="connsiteY3" fmla="*/ 3327991 h 5890437"/>
                  <a:gd name="connsiteX4" fmla="*/ 297711 w 4784651"/>
                  <a:gd name="connsiteY4" fmla="*/ 3657600 h 5890437"/>
                  <a:gd name="connsiteX5" fmla="*/ 489097 w 4784651"/>
                  <a:gd name="connsiteY5" fmla="*/ 3870251 h 5890437"/>
                  <a:gd name="connsiteX6" fmla="*/ 372139 w 4784651"/>
                  <a:gd name="connsiteY6" fmla="*/ 4061637 h 5890437"/>
                  <a:gd name="connsiteX7" fmla="*/ 563525 w 4784651"/>
                  <a:gd name="connsiteY7" fmla="*/ 4316819 h 5890437"/>
                  <a:gd name="connsiteX8" fmla="*/ 499730 w 4784651"/>
                  <a:gd name="connsiteY8" fmla="*/ 4976037 h 5890437"/>
                  <a:gd name="connsiteX9" fmla="*/ 1754372 w 4784651"/>
                  <a:gd name="connsiteY9" fmla="*/ 5199321 h 5890437"/>
                  <a:gd name="connsiteX10" fmla="*/ 1945758 w 4784651"/>
                  <a:gd name="connsiteY10" fmla="*/ 5890437 h 5890437"/>
                  <a:gd name="connsiteX11" fmla="*/ 4784651 w 4784651"/>
                  <a:gd name="connsiteY11" fmla="*/ 5858540 h 5890437"/>
                  <a:gd name="connsiteX12" fmla="*/ 4561367 w 4784651"/>
                  <a:gd name="connsiteY12" fmla="*/ 4189228 h 5890437"/>
                  <a:gd name="connsiteX13" fmla="*/ 3030279 w 4784651"/>
                  <a:gd name="connsiteY13" fmla="*/ 0 h 5890437"/>
                  <a:gd name="connsiteX0" fmla="*/ 3030279 w 4784651"/>
                  <a:gd name="connsiteY0" fmla="*/ 114 h 5890551"/>
                  <a:gd name="connsiteX1" fmla="*/ 765544 w 4784651"/>
                  <a:gd name="connsiteY1" fmla="*/ 1935240 h 5890551"/>
                  <a:gd name="connsiteX2" fmla="*/ 0 w 4784651"/>
                  <a:gd name="connsiteY2" fmla="*/ 3051658 h 5890551"/>
                  <a:gd name="connsiteX3" fmla="*/ 510363 w 4784651"/>
                  <a:gd name="connsiteY3" fmla="*/ 3328105 h 5890551"/>
                  <a:gd name="connsiteX4" fmla="*/ 297711 w 4784651"/>
                  <a:gd name="connsiteY4" fmla="*/ 3657714 h 5890551"/>
                  <a:gd name="connsiteX5" fmla="*/ 489097 w 4784651"/>
                  <a:gd name="connsiteY5" fmla="*/ 3870365 h 5890551"/>
                  <a:gd name="connsiteX6" fmla="*/ 372139 w 4784651"/>
                  <a:gd name="connsiteY6" fmla="*/ 4061751 h 5890551"/>
                  <a:gd name="connsiteX7" fmla="*/ 563525 w 4784651"/>
                  <a:gd name="connsiteY7" fmla="*/ 4316933 h 5890551"/>
                  <a:gd name="connsiteX8" fmla="*/ 499730 w 4784651"/>
                  <a:gd name="connsiteY8" fmla="*/ 4976151 h 5890551"/>
                  <a:gd name="connsiteX9" fmla="*/ 1754372 w 4784651"/>
                  <a:gd name="connsiteY9" fmla="*/ 5199435 h 5890551"/>
                  <a:gd name="connsiteX10" fmla="*/ 1945758 w 4784651"/>
                  <a:gd name="connsiteY10" fmla="*/ 5890551 h 5890551"/>
                  <a:gd name="connsiteX11" fmla="*/ 4784651 w 4784651"/>
                  <a:gd name="connsiteY11" fmla="*/ 5858654 h 5890551"/>
                  <a:gd name="connsiteX12" fmla="*/ 4561367 w 4784651"/>
                  <a:gd name="connsiteY12" fmla="*/ 4189342 h 5890551"/>
                  <a:gd name="connsiteX13" fmla="*/ 3030279 w 4784651"/>
                  <a:gd name="connsiteY13" fmla="*/ 114 h 5890551"/>
                  <a:gd name="connsiteX0" fmla="*/ 3030279 w 4784651"/>
                  <a:gd name="connsiteY0" fmla="*/ 398 h 5890835"/>
                  <a:gd name="connsiteX1" fmla="*/ 765544 w 4784651"/>
                  <a:gd name="connsiteY1" fmla="*/ 1935524 h 5890835"/>
                  <a:gd name="connsiteX2" fmla="*/ 0 w 4784651"/>
                  <a:gd name="connsiteY2" fmla="*/ 3051942 h 5890835"/>
                  <a:gd name="connsiteX3" fmla="*/ 510363 w 4784651"/>
                  <a:gd name="connsiteY3" fmla="*/ 3328389 h 5890835"/>
                  <a:gd name="connsiteX4" fmla="*/ 297711 w 4784651"/>
                  <a:gd name="connsiteY4" fmla="*/ 3657998 h 5890835"/>
                  <a:gd name="connsiteX5" fmla="*/ 489097 w 4784651"/>
                  <a:gd name="connsiteY5" fmla="*/ 3870649 h 5890835"/>
                  <a:gd name="connsiteX6" fmla="*/ 372139 w 4784651"/>
                  <a:gd name="connsiteY6" fmla="*/ 4062035 h 5890835"/>
                  <a:gd name="connsiteX7" fmla="*/ 563525 w 4784651"/>
                  <a:gd name="connsiteY7" fmla="*/ 4317217 h 5890835"/>
                  <a:gd name="connsiteX8" fmla="*/ 499730 w 4784651"/>
                  <a:gd name="connsiteY8" fmla="*/ 4976435 h 5890835"/>
                  <a:gd name="connsiteX9" fmla="*/ 1754372 w 4784651"/>
                  <a:gd name="connsiteY9" fmla="*/ 5199719 h 5890835"/>
                  <a:gd name="connsiteX10" fmla="*/ 1945758 w 4784651"/>
                  <a:gd name="connsiteY10" fmla="*/ 5890835 h 5890835"/>
                  <a:gd name="connsiteX11" fmla="*/ 4784651 w 4784651"/>
                  <a:gd name="connsiteY11" fmla="*/ 5858938 h 5890835"/>
                  <a:gd name="connsiteX12" fmla="*/ 4561367 w 4784651"/>
                  <a:gd name="connsiteY12" fmla="*/ 4189626 h 5890835"/>
                  <a:gd name="connsiteX13" fmla="*/ 3030279 w 4784651"/>
                  <a:gd name="connsiteY13" fmla="*/ 398 h 5890835"/>
                  <a:gd name="connsiteX0" fmla="*/ 3030279 w 5042277"/>
                  <a:gd name="connsiteY0" fmla="*/ 663 h 5891100"/>
                  <a:gd name="connsiteX1" fmla="*/ 765544 w 5042277"/>
                  <a:gd name="connsiteY1" fmla="*/ 1935789 h 5891100"/>
                  <a:gd name="connsiteX2" fmla="*/ 0 w 5042277"/>
                  <a:gd name="connsiteY2" fmla="*/ 3052207 h 5891100"/>
                  <a:gd name="connsiteX3" fmla="*/ 510363 w 5042277"/>
                  <a:gd name="connsiteY3" fmla="*/ 3328654 h 5891100"/>
                  <a:gd name="connsiteX4" fmla="*/ 297711 w 5042277"/>
                  <a:gd name="connsiteY4" fmla="*/ 3658263 h 5891100"/>
                  <a:gd name="connsiteX5" fmla="*/ 489097 w 5042277"/>
                  <a:gd name="connsiteY5" fmla="*/ 3870914 h 5891100"/>
                  <a:gd name="connsiteX6" fmla="*/ 372139 w 5042277"/>
                  <a:gd name="connsiteY6" fmla="*/ 4062300 h 5891100"/>
                  <a:gd name="connsiteX7" fmla="*/ 563525 w 5042277"/>
                  <a:gd name="connsiteY7" fmla="*/ 4317482 h 5891100"/>
                  <a:gd name="connsiteX8" fmla="*/ 499730 w 5042277"/>
                  <a:gd name="connsiteY8" fmla="*/ 4976700 h 5891100"/>
                  <a:gd name="connsiteX9" fmla="*/ 1754372 w 5042277"/>
                  <a:gd name="connsiteY9" fmla="*/ 5199984 h 5891100"/>
                  <a:gd name="connsiteX10" fmla="*/ 1945758 w 5042277"/>
                  <a:gd name="connsiteY10" fmla="*/ 5891100 h 5891100"/>
                  <a:gd name="connsiteX11" fmla="*/ 4784651 w 5042277"/>
                  <a:gd name="connsiteY11" fmla="*/ 5859203 h 5891100"/>
                  <a:gd name="connsiteX12" fmla="*/ 4561367 w 5042277"/>
                  <a:gd name="connsiteY12" fmla="*/ 4189891 h 5891100"/>
                  <a:gd name="connsiteX13" fmla="*/ 3030279 w 5042277"/>
                  <a:gd name="connsiteY13" fmla="*/ 663 h 5891100"/>
                  <a:gd name="connsiteX0" fmla="*/ 3030279 w 5316637"/>
                  <a:gd name="connsiteY0" fmla="*/ 1079 h 5891516"/>
                  <a:gd name="connsiteX1" fmla="*/ 765544 w 5316637"/>
                  <a:gd name="connsiteY1" fmla="*/ 1936205 h 5891516"/>
                  <a:gd name="connsiteX2" fmla="*/ 0 w 5316637"/>
                  <a:gd name="connsiteY2" fmla="*/ 3052623 h 5891516"/>
                  <a:gd name="connsiteX3" fmla="*/ 510363 w 5316637"/>
                  <a:gd name="connsiteY3" fmla="*/ 3329070 h 5891516"/>
                  <a:gd name="connsiteX4" fmla="*/ 297711 w 5316637"/>
                  <a:gd name="connsiteY4" fmla="*/ 3658679 h 5891516"/>
                  <a:gd name="connsiteX5" fmla="*/ 489097 w 5316637"/>
                  <a:gd name="connsiteY5" fmla="*/ 3871330 h 5891516"/>
                  <a:gd name="connsiteX6" fmla="*/ 372139 w 5316637"/>
                  <a:gd name="connsiteY6" fmla="*/ 4062716 h 5891516"/>
                  <a:gd name="connsiteX7" fmla="*/ 563525 w 5316637"/>
                  <a:gd name="connsiteY7" fmla="*/ 4317898 h 5891516"/>
                  <a:gd name="connsiteX8" fmla="*/ 499730 w 5316637"/>
                  <a:gd name="connsiteY8" fmla="*/ 4977116 h 5891516"/>
                  <a:gd name="connsiteX9" fmla="*/ 1754372 w 5316637"/>
                  <a:gd name="connsiteY9" fmla="*/ 5200400 h 5891516"/>
                  <a:gd name="connsiteX10" fmla="*/ 1945758 w 5316637"/>
                  <a:gd name="connsiteY10" fmla="*/ 5891516 h 5891516"/>
                  <a:gd name="connsiteX11" fmla="*/ 4784651 w 5316637"/>
                  <a:gd name="connsiteY11" fmla="*/ 5859619 h 5891516"/>
                  <a:gd name="connsiteX12" fmla="*/ 4890977 w 5316637"/>
                  <a:gd name="connsiteY12" fmla="*/ 3520456 h 5891516"/>
                  <a:gd name="connsiteX13" fmla="*/ 3030279 w 5316637"/>
                  <a:gd name="connsiteY13" fmla="*/ 1079 h 5891516"/>
                  <a:gd name="connsiteX0" fmla="*/ 3030279 w 5338934"/>
                  <a:gd name="connsiteY0" fmla="*/ 561 h 5890998"/>
                  <a:gd name="connsiteX1" fmla="*/ 765544 w 5338934"/>
                  <a:gd name="connsiteY1" fmla="*/ 1935687 h 5890998"/>
                  <a:gd name="connsiteX2" fmla="*/ 0 w 5338934"/>
                  <a:gd name="connsiteY2" fmla="*/ 3052105 h 5890998"/>
                  <a:gd name="connsiteX3" fmla="*/ 510363 w 5338934"/>
                  <a:gd name="connsiteY3" fmla="*/ 3328552 h 5890998"/>
                  <a:gd name="connsiteX4" fmla="*/ 297711 w 5338934"/>
                  <a:gd name="connsiteY4" fmla="*/ 3658161 h 5890998"/>
                  <a:gd name="connsiteX5" fmla="*/ 489097 w 5338934"/>
                  <a:gd name="connsiteY5" fmla="*/ 3870812 h 5890998"/>
                  <a:gd name="connsiteX6" fmla="*/ 372139 w 5338934"/>
                  <a:gd name="connsiteY6" fmla="*/ 4062198 h 5890998"/>
                  <a:gd name="connsiteX7" fmla="*/ 563525 w 5338934"/>
                  <a:gd name="connsiteY7" fmla="*/ 4317380 h 5890998"/>
                  <a:gd name="connsiteX8" fmla="*/ 499730 w 5338934"/>
                  <a:gd name="connsiteY8" fmla="*/ 4976598 h 5890998"/>
                  <a:gd name="connsiteX9" fmla="*/ 1754372 w 5338934"/>
                  <a:gd name="connsiteY9" fmla="*/ 5199882 h 5890998"/>
                  <a:gd name="connsiteX10" fmla="*/ 1945758 w 5338934"/>
                  <a:gd name="connsiteY10" fmla="*/ 5890998 h 5890998"/>
                  <a:gd name="connsiteX11" fmla="*/ 4784651 w 5338934"/>
                  <a:gd name="connsiteY11" fmla="*/ 5859101 h 5890998"/>
                  <a:gd name="connsiteX12" fmla="*/ 4890977 w 5338934"/>
                  <a:gd name="connsiteY12" fmla="*/ 3519938 h 5890998"/>
                  <a:gd name="connsiteX13" fmla="*/ 3030279 w 5338934"/>
                  <a:gd name="connsiteY13" fmla="*/ 561 h 5890998"/>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75 h 5890612"/>
                  <a:gd name="connsiteX1" fmla="*/ 765544 w 5381346"/>
                  <a:gd name="connsiteY1" fmla="*/ 1935301 h 5890612"/>
                  <a:gd name="connsiteX2" fmla="*/ 0 w 5381346"/>
                  <a:gd name="connsiteY2" fmla="*/ 3051719 h 5890612"/>
                  <a:gd name="connsiteX3" fmla="*/ 510363 w 5381346"/>
                  <a:gd name="connsiteY3" fmla="*/ 3328166 h 5890612"/>
                  <a:gd name="connsiteX4" fmla="*/ 297711 w 5381346"/>
                  <a:gd name="connsiteY4" fmla="*/ 3657775 h 5890612"/>
                  <a:gd name="connsiteX5" fmla="*/ 489097 w 5381346"/>
                  <a:gd name="connsiteY5" fmla="*/ 3870426 h 5890612"/>
                  <a:gd name="connsiteX6" fmla="*/ 372139 w 5381346"/>
                  <a:gd name="connsiteY6" fmla="*/ 4061812 h 5890612"/>
                  <a:gd name="connsiteX7" fmla="*/ 563525 w 5381346"/>
                  <a:gd name="connsiteY7" fmla="*/ 4316994 h 5890612"/>
                  <a:gd name="connsiteX8" fmla="*/ 499730 w 5381346"/>
                  <a:gd name="connsiteY8" fmla="*/ 4976212 h 5890612"/>
                  <a:gd name="connsiteX9" fmla="*/ 1754372 w 5381346"/>
                  <a:gd name="connsiteY9" fmla="*/ 5199496 h 5890612"/>
                  <a:gd name="connsiteX10" fmla="*/ 1945758 w 5381346"/>
                  <a:gd name="connsiteY10" fmla="*/ 5890612 h 5890612"/>
                  <a:gd name="connsiteX11" fmla="*/ 4784651 w 5381346"/>
                  <a:gd name="connsiteY11" fmla="*/ 5858715 h 5890612"/>
                  <a:gd name="connsiteX12" fmla="*/ 4890977 w 5381346"/>
                  <a:gd name="connsiteY12" fmla="*/ 3519552 h 5890612"/>
                  <a:gd name="connsiteX13" fmla="*/ 3030279 w 5381346"/>
                  <a:gd name="connsiteY13" fmla="*/ 175 h 5890612"/>
                  <a:gd name="connsiteX0" fmla="*/ 3030279 w 5381346"/>
                  <a:gd name="connsiteY0" fmla="*/ 1733 h 5892170"/>
                  <a:gd name="connsiteX1" fmla="*/ 0 w 5381346"/>
                  <a:gd name="connsiteY1" fmla="*/ 3053277 h 5892170"/>
                  <a:gd name="connsiteX2" fmla="*/ 510363 w 5381346"/>
                  <a:gd name="connsiteY2" fmla="*/ 3329724 h 5892170"/>
                  <a:gd name="connsiteX3" fmla="*/ 297711 w 5381346"/>
                  <a:gd name="connsiteY3" fmla="*/ 3659333 h 5892170"/>
                  <a:gd name="connsiteX4" fmla="*/ 489097 w 5381346"/>
                  <a:gd name="connsiteY4" fmla="*/ 3871984 h 5892170"/>
                  <a:gd name="connsiteX5" fmla="*/ 372139 w 5381346"/>
                  <a:gd name="connsiteY5" fmla="*/ 4063370 h 5892170"/>
                  <a:gd name="connsiteX6" fmla="*/ 563525 w 5381346"/>
                  <a:gd name="connsiteY6" fmla="*/ 4318552 h 5892170"/>
                  <a:gd name="connsiteX7" fmla="*/ 499730 w 5381346"/>
                  <a:gd name="connsiteY7" fmla="*/ 4977770 h 5892170"/>
                  <a:gd name="connsiteX8" fmla="*/ 1754372 w 5381346"/>
                  <a:gd name="connsiteY8" fmla="*/ 5201054 h 5892170"/>
                  <a:gd name="connsiteX9" fmla="*/ 1945758 w 5381346"/>
                  <a:gd name="connsiteY9" fmla="*/ 5892170 h 5892170"/>
                  <a:gd name="connsiteX10" fmla="*/ 4784651 w 5381346"/>
                  <a:gd name="connsiteY10" fmla="*/ 5860273 h 5892170"/>
                  <a:gd name="connsiteX11" fmla="*/ 4890977 w 5381346"/>
                  <a:gd name="connsiteY11" fmla="*/ 3521110 h 5892170"/>
                  <a:gd name="connsiteX12" fmla="*/ 3030279 w 5381346"/>
                  <a:gd name="connsiteY12" fmla="*/ 1733 h 5892170"/>
                  <a:gd name="connsiteX0" fmla="*/ 3030279 w 5381346"/>
                  <a:gd name="connsiteY0" fmla="*/ 4 h 5890441"/>
                  <a:gd name="connsiteX1" fmla="*/ 0 w 5381346"/>
                  <a:gd name="connsiteY1" fmla="*/ 3051548 h 5890441"/>
                  <a:gd name="connsiteX2" fmla="*/ 510363 w 5381346"/>
                  <a:gd name="connsiteY2" fmla="*/ 3327995 h 5890441"/>
                  <a:gd name="connsiteX3" fmla="*/ 297711 w 5381346"/>
                  <a:gd name="connsiteY3" fmla="*/ 3657604 h 5890441"/>
                  <a:gd name="connsiteX4" fmla="*/ 489097 w 5381346"/>
                  <a:gd name="connsiteY4" fmla="*/ 3870255 h 5890441"/>
                  <a:gd name="connsiteX5" fmla="*/ 372139 w 5381346"/>
                  <a:gd name="connsiteY5" fmla="*/ 4061641 h 5890441"/>
                  <a:gd name="connsiteX6" fmla="*/ 563525 w 5381346"/>
                  <a:gd name="connsiteY6" fmla="*/ 4316823 h 5890441"/>
                  <a:gd name="connsiteX7" fmla="*/ 499730 w 5381346"/>
                  <a:gd name="connsiteY7" fmla="*/ 4976041 h 5890441"/>
                  <a:gd name="connsiteX8" fmla="*/ 1754372 w 5381346"/>
                  <a:gd name="connsiteY8" fmla="*/ 5199325 h 5890441"/>
                  <a:gd name="connsiteX9" fmla="*/ 1945758 w 5381346"/>
                  <a:gd name="connsiteY9" fmla="*/ 5890441 h 5890441"/>
                  <a:gd name="connsiteX10" fmla="*/ 4784651 w 5381346"/>
                  <a:gd name="connsiteY10" fmla="*/ 5858544 h 5890441"/>
                  <a:gd name="connsiteX11" fmla="*/ 4890977 w 5381346"/>
                  <a:gd name="connsiteY11" fmla="*/ 3519381 h 5890441"/>
                  <a:gd name="connsiteX12" fmla="*/ 3030279 w 5381346"/>
                  <a:gd name="connsiteY12" fmla="*/ 4 h 5890441"/>
                  <a:gd name="connsiteX0" fmla="*/ 3040277 w 5391344"/>
                  <a:gd name="connsiteY0" fmla="*/ 4 h 5890441"/>
                  <a:gd name="connsiteX1" fmla="*/ 9998 w 5391344"/>
                  <a:gd name="connsiteY1" fmla="*/ 3051548 h 5890441"/>
                  <a:gd name="connsiteX2" fmla="*/ 520361 w 5391344"/>
                  <a:gd name="connsiteY2" fmla="*/ 3327995 h 5890441"/>
                  <a:gd name="connsiteX3" fmla="*/ 307709 w 5391344"/>
                  <a:gd name="connsiteY3" fmla="*/ 3657604 h 5890441"/>
                  <a:gd name="connsiteX4" fmla="*/ 499095 w 5391344"/>
                  <a:gd name="connsiteY4" fmla="*/ 3870255 h 5890441"/>
                  <a:gd name="connsiteX5" fmla="*/ 382137 w 5391344"/>
                  <a:gd name="connsiteY5" fmla="*/ 4061641 h 5890441"/>
                  <a:gd name="connsiteX6" fmla="*/ 573523 w 5391344"/>
                  <a:gd name="connsiteY6" fmla="*/ 4316823 h 5890441"/>
                  <a:gd name="connsiteX7" fmla="*/ 509728 w 5391344"/>
                  <a:gd name="connsiteY7" fmla="*/ 4976041 h 5890441"/>
                  <a:gd name="connsiteX8" fmla="*/ 1764370 w 5391344"/>
                  <a:gd name="connsiteY8" fmla="*/ 5199325 h 5890441"/>
                  <a:gd name="connsiteX9" fmla="*/ 1955756 w 5391344"/>
                  <a:gd name="connsiteY9" fmla="*/ 5890441 h 5890441"/>
                  <a:gd name="connsiteX10" fmla="*/ 4794649 w 5391344"/>
                  <a:gd name="connsiteY10" fmla="*/ 5858544 h 5890441"/>
                  <a:gd name="connsiteX11" fmla="*/ 4900975 w 5391344"/>
                  <a:gd name="connsiteY11" fmla="*/ 3519381 h 5890441"/>
                  <a:gd name="connsiteX12" fmla="*/ 3040277 w 5391344"/>
                  <a:gd name="connsiteY12" fmla="*/ 4 h 5890441"/>
                  <a:gd name="connsiteX0" fmla="*/ 3040277 w 5391344"/>
                  <a:gd name="connsiteY0" fmla="*/ 4 h 5890441"/>
                  <a:gd name="connsiteX1" fmla="*/ 9998 w 5391344"/>
                  <a:gd name="connsiteY1" fmla="*/ 3051548 h 5890441"/>
                  <a:gd name="connsiteX2" fmla="*/ 520361 w 5391344"/>
                  <a:gd name="connsiteY2" fmla="*/ 3327995 h 5890441"/>
                  <a:gd name="connsiteX3" fmla="*/ 307709 w 5391344"/>
                  <a:gd name="connsiteY3" fmla="*/ 3657604 h 5890441"/>
                  <a:gd name="connsiteX4" fmla="*/ 499095 w 5391344"/>
                  <a:gd name="connsiteY4" fmla="*/ 3870255 h 5890441"/>
                  <a:gd name="connsiteX5" fmla="*/ 382137 w 5391344"/>
                  <a:gd name="connsiteY5" fmla="*/ 4061641 h 5890441"/>
                  <a:gd name="connsiteX6" fmla="*/ 573523 w 5391344"/>
                  <a:gd name="connsiteY6" fmla="*/ 4316823 h 5890441"/>
                  <a:gd name="connsiteX7" fmla="*/ 509728 w 5391344"/>
                  <a:gd name="connsiteY7" fmla="*/ 4976041 h 5890441"/>
                  <a:gd name="connsiteX8" fmla="*/ 1764370 w 5391344"/>
                  <a:gd name="connsiteY8" fmla="*/ 5199325 h 5890441"/>
                  <a:gd name="connsiteX9" fmla="*/ 1955756 w 5391344"/>
                  <a:gd name="connsiteY9" fmla="*/ 5890441 h 5890441"/>
                  <a:gd name="connsiteX10" fmla="*/ 4794649 w 5391344"/>
                  <a:gd name="connsiteY10" fmla="*/ 5858544 h 5890441"/>
                  <a:gd name="connsiteX11" fmla="*/ 4900975 w 5391344"/>
                  <a:gd name="connsiteY11" fmla="*/ 3519381 h 5890441"/>
                  <a:gd name="connsiteX12" fmla="*/ 3040277 w 5391344"/>
                  <a:gd name="connsiteY12" fmla="*/ 4 h 5890441"/>
                  <a:gd name="connsiteX0" fmla="*/ 3030279 w 5381346"/>
                  <a:gd name="connsiteY0" fmla="*/ 92120 h 5982557"/>
                  <a:gd name="connsiteX1" fmla="*/ 914399 w 5381346"/>
                  <a:gd name="connsiteY1" fmla="*/ 1187274 h 5982557"/>
                  <a:gd name="connsiteX2" fmla="*/ 0 w 5381346"/>
                  <a:gd name="connsiteY2" fmla="*/ 3143664 h 5982557"/>
                  <a:gd name="connsiteX3" fmla="*/ 510363 w 5381346"/>
                  <a:gd name="connsiteY3" fmla="*/ 3420111 h 5982557"/>
                  <a:gd name="connsiteX4" fmla="*/ 297711 w 5381346"/>
                  <a:gd name="connsiteY4" fmla="*/ 3749720 h 5982557"/>
                  <a:gd name="connsiteX5" fmla="*/ 489097 w 5381346"/>
                  <a:gd name="connsiteY5" fmla="*/ 3962371 h 5982557"/>
                  <a:gd name="connsiteX6" fmla="*/ 372139 w 5381346"/>
                  <a:gd name="connsiteY6" fmla="*/ 4153757 h 5982557"/>
                  <a:gd name="connsiteX7" fmla="*/ 563525 w 5381346"/>
                  <a:gd name="connsiteY7" fmla="*/ 4408939 h 5982557"/>
                  <a:gd name="connsiteX8" fmla="*/ 499730 w 5381346"/>
                  <a:gd name="connsiteY8" fmla="*/ 5068157 h 5982557"/>
                  <a:gd name="connsiteX9" fmla="*/ 1754372 w 5381346"/>
                  <a:gd name="connsiteY9" fmla="*/ 5291441 h 5982557"/>
                  <a:gd name="connsiteX10" fmla="*/ 1945758 w 5381346"/>
                  <a:gd name="connsiteY10" fmla="*/ 5982557 h 5982557"/>
                  <a:gd name="connsiteX11" fmla="*/ 4784651 w 5381346"/>
                  <a:gd name="connsiteY11" fmla="*/ 5950660 h 5982557"/>
                  <a:gd name="connsiteX12" fmla="*/ 4890977 w 5381346"/>
                  <a:gd name="connsiteY12" fmla="*/ 3611497 h 5982557"/>
                  <a:gd name="connsiteX13" fmla="*/ 3030279 w 5381346"/>
                  <a:gd name="connsiteY13" fmla="*/ 92120 h 5982557"/>
                  <a:gd name="connsiteX0" fmla="*/ 3030279 w 5381346"/>
                  <a:gd name="connsiteY0" fmla="*/ 94250 h 5984687"/>
                  <a:gd name="connsiteX1" fmla="*/ 914399 w 5381346"/>
                  <a:gd name="connsiteY1" fmla="*/ 1189404 h 5984687"/>
                  <a:gd name="connsiteX2" fmla="*/ 0 w 5381346"/>
                  <a:gd name="connsiteY2" fmla="*/ 3145794 h 5984687"/>
                  <a:gd name="connsiteX3" fmla="*/ 510363 w 5381346"/>
                  <a:gd name="connsiteY3" fmla="*/ 3422241 h 5984687"/>
                  <a:gd name="connsiteX4" fmla="*/ 297711 w 5381346"/>
                  <a:gd name="connsiteY4" fmla="*/ 3751850 h 5984687"/>
                  <a:gd name="connsiteX5" fmla="*/ 489097 w 5381346"/>
                  <a:gd name="connsiteY5" fmla="*/ 3964501 h 5984687"/>
                  <a:gd name="connsiteX6" fmla="*/ 372139 w 5381346"/>
                  <a:gd name="connsiteY6" fmla="*/ 4155887 h 5984687"/>
                  <a:gd name="connsiteX7" fmla="*/ 563525 w 5381346"/>
                  <a:gd name="connsiteY7" fmla="*/ 4411069 h 5984687"/>
                  <a:gd name="connsiteX8" fmla="*/ 499730 w 5381346"/>
                  <a:gd name="connsiteY8" fmla="*/ 5070287 h 5984687"/>
                  <a:gd name="connsiteX9" fmla="*/ 1754372 w 5381346"/>
                  <a:gd name="connsiteY9" fmla="*/ 5293571 h 5984687"/>
                  <a:gd name="connsiteX10" fmla="*/ 1945758 w 5381346"/>
                  <a:gd name="connsiteY10" fmla="*/ 5984687 h 5984687"/>
                  <a:gd name="connsiteX11" fmla="*/ 4784651 w 5381346"/>
                  <a:gd name="connsiteY11" fmla="*/ 5952790 h 5984687"/>
                  <a:gd name="connsiteX12" fmla="*/ 4890977 w 5381346"/>
                  <a:gd name="connsiteY12" fmla="*/ 3613627 h 5984687"/>
                  <a:gd name="connsiteX13" fmla="*/ 3030279 w 5381346"/>
                  <a:gd name="connsiteY13" fmla="*/ 94250 h 5984687"/>
                  <a:gd name="connsiteX0" fmla="*/ 3030279 w 5381346"/>
                  <a:gd name="connsiteY0" fmla="*/ 0 h 5890437"/>
                  <a:gd name="connsiteX1" fmla="*/ 914399 w 5381346"/>
                  <a:gd name="connsiteY1" fmla="*/ 1095154 h 5890437"/>
                  <a:gd name="connsiteX2" fmla="*/ 0 w 5381346"/>
                  <a:gd name="connsiteY2" fmla="*/ 3051544 h 5890437"/>
                  <a:gd name="connsiteX3" fmla="*/ 510363 w 5381346"/>
                  <a:gd name="connsiteY3" fmla="*/ 3327991 h 5890437"/>
                  <a:gd name="connsiteX4" fmla="*/ 297711 w 5381346"/>
                  <a:gd name="connsiteY4" fmla="*/ 3657600 h 5890437"/>
                  <a:gd name="connsiteX5" fmla="*/ 489097 w 5381346"/>
                  <a:gd name="connsiteY5" fmla="*/ 3870251 h 5890437"/>
                  <a:gd name="connsiteX6" fmla="*/ 372139 w 5381346"/>
                  <a:gd name="connsiteY6" fmla="*/ 4061637 h 5890437"/>
                  <a:gd name="connsiteX7" fmla="*/ 563525 w 5381346"/>
                  <a:gd name="connsiteY7" fmla="*/ 4316819 h 5890437"/>
                  <a:gd name="connsiteX8" fmla="*/ 499730 w 5381346"/>
                  <a:gd name="connsiteY8" fmla="*/ 4976037 h 5890437"/>
                  <a:gd name="connsiteX9" fmla="*/ 1754372 w 5381346"/>
                  <a:gd name="connsiteY9" fmla="*/ 5199321 h 5890437"/>
                  <a:gd name="connsiteX10" fmla="*/ 1945758 w 5381346"/>
                  <a:gd name="connsiteY10" fmla="*/ 5890437 h 5890437"/>
                  <a:gd name="connsiteX11" fmla="*/ 4784651 w 5381346"/>
                  <a:gd name="connsiteY11" fmla="*/ 5858540 h 5890437"/>
                  <a:gd name="connsiteX12" fmla="*/ 4890977 w 5381346"/>
                  <a:gd name="connsiteY12" fmla="*/ 3519377 h 5890437"/>
                  <a:gd name="connsiteX13" fmla="*/ 3030279 w 5381346"/>
                  <a:gd name="connsiteY13" fmla="*/ 0 h 5890437"/>
                  <a:gd name="connsiteX0" fmla="*/ 3030279 w 5381346"/>
                  <a:gd name="connsiteY0" fmla="*/ 0 h 5890437"/>
                  <a:gd name="connsiteX1" fmla="*/ 914399 w 5381346"/>
                  <a:gd name="connsiteY1" fmla="*/ 1095154 h 5890437"/>
                  <a:gd name="connsiteX2" fmla="*/ 0 w 5381346"/>
                  <a:gd name="connsiteY2" fmla="*/ 3051544 h 5890437"/>
                  <a:gd name="connsiteX3" fmla="*/ 510363 w 5381346"/>
                  <a:gd name="connsiteY3" fmla="*/ 3327991 h 5890437"/>
                  <a:gd name="connsiteX4" fmla="*/ 297711 w 5381346"/>
                  <a:gd name="connsiteY4" fmla="*/ 3657600 h 5890437"/>
                  <a:gd name="connsiteX5" fmla="*/ 489097 w 5381346"/>
                  <a:gd name="connsiteY5" fmla="*/ 3870251 h 5890437"/>
                  <a:gd name="connsiteX6" fmla="*/ 372139 w 5381346"/>
                  <a:gd name="connsiteY6" fmla="*/ 4061637 h 5890437"/>
                  <a:gd name="connsiteX7" fmla="*/ 563525 w 5381346"/>
                  <a:gd name="connsiteY7" fmla="*/ 4316819 h 5890437"/>
                  <a:gd name="connsiteX8" fmla="*/ 499730 w 5381346"/>
                  <a:gd name="connsiteY8" fmla="*/ 4976037 h 5890437"/>
                  <a:gd name="connsiteX9" fmla="*/ 1754372 w 5381346"/>
                  <a:gd name="connsiteY9" fmla="*/ 5199321 h 5890437"/>
                  <a:gd name="connsiteX10" fmla="*/ 1945758 w 5381346"/>
                  <a:gd name="connsiteY10" fmla="*/ 5890437 h 5890437"/>
                  <a:gd name="connsiteX11" fmla="*/ 4784651 w 5381346"/>
                  <a:gd name="connsiteY11" fmla="*/ 5858540 h 5890437"/>
                  <a:gd name="connsiteX12" fmla="*/ 4890977 w 5381346"/>
                  <a:gd name="connsiteY12" fmla="*/ 3519377 h 5890437"/>
                  <a:gd name="connsiteX13" fmla="*/ 3030279 w 5381346"/>
                  <a:gd name="connsiteY13" fmla="*/ 0 h 5890437"/>
                  <a:gd name="connsiteX0" fmla="*/ 3030726 w 5381793"/>
                  <a:gd name="connsiteY0" fmla="*/ 0 h 5890437"/>
                  <a:gd name="connsiteX1" fmla="*/ 914846 w 5381793"/>
                  <a:gd name="connsiteY1" fmla="*/ 1095154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914846 w 5381793"/>
                  <a:gd name="connsiteY1" fmla="*/ 1095154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914846 w 5381793"/>
                  <a:gd name="connsiteY1" fmla="*/ 1095154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90128 w 5381793"/>
                  <a:gd name="connsiteY1" fmla="*/ 1098883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90128 w 5381793"/>
                  <a:gd name="connsiteY1" fmla="*/ 1098883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64 w 5381831"/>
                  <a:gd name="connsiteY0" fmla="*/ 0 h 5890437"/>
                  <a:gd name="connsiteX1" fmla="*/ 890166 w 5381831"/>
                  <a:gd name="connsiteY1" fmla="*/ 1098883 h 5890437"/>
                  <a:gd name="connsiteX2" fmla="*/ 607506 w 5381831"/>
                  <a:gd name="connsiteY2" fmla="*/ 2172770 h 5890437"/>
                  <a:gd name="connsiteX3" fmla="*/ 485 w 5381831"/>
                  <a:gd name="connsiteY3" fmla="*/ 3051544 h 5890437"/>
                  <a:gd name="connsiteX4" fmla="*/ 510848 w 5381831"/>
                  <a:gd name="connsiteY4" fmla="*/ 3327991 h 5890437"/>
                  <a:gd name="connsiteX5" fmla="*/ 298196 w 5381831"/>
                  <a:gd name="connsiteY5" fmla="*/ 3657600 h 5890437"/>
                  <a:gd name="connsiteX6" fmla="*/ 489582 w 5381831"/>
                  <a:gd name="connsiteY6" fmla="*/ 3870251 h 5890437"/>
                  <a:gd name="connsiteX7" fmla="*/ 372624 w 5381831"/>
                  <a:gd name="connsiteY7" fmla="*/ 4061637 h 5890437"/>
                  <a:gd name="connsiteX8" fmla="*/ 564010 w 5381831"/>
                  <a:gd name="connsiteY8" fmla="*/ 4316819 h 5890437"/>
                  <a:gd name="connsiteX9" fmla="*/ 500215 w 5381831"/>
                  <a:gd name="connsiteY9" fmla="*/ 4976037 h 5890437"/>
                  <a:gd name="connsiteX10" fmla="*/ 1754857 w 5381831"/>
                  <a:gd name="connsiteY10" fmla="*/ 5199321 h 5890437"/>
                  <a:gd name="connsiteX11" fmla="*/ 1946243 w 5381831"/>
                  <a:gd name="connsiteY11" fmla="*/ 5890437 h 5890437"/>
                  <a:gd name="connsiteX12" fmla="*/ 4785136 w 5381831"/>
                  <a:gd name="connsiteY12" fmla="*/ 5858540 h 5890437"/>
                  <a:gd name="connsiteX13" fmla="*/ 4891462 w 5381831"/>
                  <a:gd name="connsiteY13" fmla="*/ 3519377 h 5890437"/>
                  <a:gd name="connsiteX14" fmla="*/ 3030764 w 5381831"/>
                  <a:gd name="connsiteY14" fmla="*/ 0 h 5890437"/>
                  <a:gd name="connsiteX0" fmla="*/ 3030764 w 5381831"/>
                  <a:gd name="connsiteY0" fmla="*/ 0 h 5890437"/>
                  <a:gd name="connsiteX1" fmla="*/ 890166 w 5381831"/>
                  <a:gd name="connsiteY1" fmla="*/ 1098883 h 5890437"/>
                  <a:gd name="connsiteX2" fmla="*/ 607506 w 5381831"/>
                  <a:gd name="connsiteY2" fmla="*/ 2172770 h 5890437"/>
                  <a:gd name="connsiteX3" fmla="*/ 485 w 5381831"/>
                  <a:gd name="connsiteY3" fmla="*/ 3051544 h 5890437"/>
                  <a:gd name="connsiteX4" fmla="*/ 510848 w 5381831"/>
                  <a:gd name="connsiteY4" fmla="*/ 3327991 h 5890437"/>
                  <a:gd name="connsiteX5" fmla="*/ 298196 w 5381831"/>
                  <a:gd name="connsiteY5" fmla="*/ 3657600 h 5890437"/>
                  <a:gd name="connsiteX6" fmla="*/ 489582 w 5381831"/>
                  <a:gd name="connsiteY6" fmla="*/ 3870251 h 5890437"/>
                  <a:gd name="connsiteX7" fmla="*/ 372624 w 5381831"/>
                  <a:gd name="connsiteY7" fmla="*/ 4061637 h 5890437"/>
                  <a:gd name="connsiteX8" fmla="*/ 564010 w 5381831"/>
                  <a:gd name="connsiteY8" fmla="*/ 4316819 h 5890437"/>
                  <a:gd name="connsiteX9" fmla="*/ 500215 w 5381831"/>
                  <a:gd name="connsiteY9" fmla="*/ 4976037 h 5890437"/>
                  <a:gd name="connsiteX10" fmla="*/ 1754857 w 5381831"/>
                  <a:gd name="connsiteY10" fmla="*/ 5199321 h 5890437"/>
                  <a:gd name="connsiteX11" fmla="*/ 1946243 w 5381831"/>
                  <a:gd name="connsiteY11" fmla="*/ 5890437 h 5890437"/>
                  <a:gd name="connsiteX12" fmla="*/ 4785136 w 5381831"/>
                  <a:gd name="connsiteY12" fmla="*/ 5858540 h 5890437"/>
                  <a:gd name="connsiteX13" fmla="*/ 4891462 w 5381831"/>
                  <a:gd name="connsiteY13" fmla="*/ 3519377 h 5890437"/>
                  <a:gd name="connsiteX14" fmla="*/ 3030764 w 5381831"/>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298271 w 5381906"/>
                  <a:gd name="connsiteY5" fmla="*/ 365760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298271 w 5381906"/>
                  <a:gd name="connsiteY5" fmla="*/ 365760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298271 w 5381906"/>
                  <a:gd name="connsiteY5" fmla="*/ 365760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765 w 5381832"/>
                  <a:gd name="connsiteY0" fmla="*/ 0 h 5890437"/>
                  <a:gd name="connsiteX1" fmla="*/ 890167 w 5381832"/>
                  <a:gd name="connsiteY1" fmla="*/ 1098883 h 5890437"/>
                  <a:gd name="connsiteX2" fmla="*/ 672821 w 5381832"/>
                  <a:gd name="connsiteY2" fmla="*/ 2220272 h 5890437"/>
                  <a:gd name="connsiteX3" fmla="*/ 486 w 5381832"/>
                  <a:gd name="connsiteY3" fmla="*/ 3051544 h 5890437"/>
                  <a:gd name="connsiteX4" fmla="*/ 510849 w 5381832"/>
                  <a:gd name="connsiteY4" fmla="*/ 3327991 h 5890437"/>
                  <a:gd name="connsiteX5" fmla="*/ 339761 w 5381832"/>
                  <a:gd name="connsiteY5" fmla="*/ 3734790 h 5890437"/>
                  <a:gd name="connsiteX6" fmla="*/ 531147 w 5381832"/>
                  <a:gd name="connsiteY6" fmla="*/ 3870251 h 5890437"/>
                  <a:gd name="connsiteX7" fmla="*/ 372625 w 5381832"/>
                  <a:gd name="connsiteY7" fmla="*/ 4061637 h 5890437"/>
                  <a:gd name="connsiteX8" fmla="*/ 564011 w 5381832"/>
                  <a:gd name="connsiteY8" fmla="*/ 4316819 h 5890437"/>
                  <a:gd name="connsiteX9" fmla="*/ 500216 w 5381832"/>
                  <a:gd name="connsiteY9" fmla="*/ 4976037 h 5890437"/>
                  <a:gd name="connsiteX10" fmla="*/ 1754858 w 5381832"/>
                  <a:gd name="connsiteY10" fmla="*/ 5039004 h 5890437"/>
                  <a:gd name="connsiteX11" fmla="*/ 1946244 w 5381832"/>
                  <a:gd name="connsiteY11" fmla="*/ 5890437 h 5890437"/>
                  <a:gd name="connsiteX12" fmla="*/ 4785137 w 5381832"/>
                  <a:gd name="connsiteY12" fmla="*/ 5858540 h 5890437"/>
                  <a:gd name="connsiteX13" fmla="*/ 4891463 w 5381832"/>
                  <a:gd name="connsiteY13" fmla="*/ 3519377 h 5890437"/>
                  <a:gd name="connsiteX14" fmla="*/ 3030765 w 5381832"/>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72451 w 5381929"/>
                  <a:gd name="connsiteY1" fmla="*/ 1057320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72451 w 5381929"/>
                  <a:gd name="connsiteY1" fmla="*/ 1057320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81633 w 5381929"/>
                  <a:gd name="connsiteY1" fmla="*/ 920842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81633 w 5381929"/>
                  <a:gd name="connsiteY1" fmla="*/ 920842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27042 w 5381929"/>
                  <a:gd name="connsiteY1" fmla="*/ 866251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27042 w 5381929"/>
                  <a:gd name="connsiteY1" fmla="*/ 866251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27042 w 5381929"/>
                  <a:gd name="connsiteY1" fmla="*/ 866251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1751 h 5892188"/>
                  <a:gd name="connsiteX1" fmla="*/ 927042 w 5381929"/>
                  <a:gd name="connsiteY1" fmla="*/ 868002 h 5892188"/>
                  <a:gd name="connsiteX2" fmla="*/ 672918 w 5381929"/>
                  <a:gd name="connsiteY2" fmla="*/ 2222023 h 5892188"/>
                  <a:gd name="connsiteX3" fmla="*/ 583 w 5381929"/>
                  <a:gd name="connsiteY3" fmla="*/ 3053295 h 5892188"/>
                  <a:gd name="connsiteX4" fmla="*/ 510946 w 5381929"/>
                  <a:gd name="connsiteY4" fmla="*/ 3329742 h 5892188"/>
                  <a:gd name="connsiteX5" fmla="*/ 339858 w 5381929"/>
                  <a:gd name="connsiteY5" fmla="*/ 3736541 h 5892188"/>
                  <a:gd name="connsiteX6" fmla="*/ 531244 w 5381929"/>
                  <a:gd name="connsiteY6" fmla="*/ 3872002 h 5892188"/>
                  <a:gd name="connsiteX7" fmla="*/ 372722 w 5381929"/>
                  <a:gd name="connsiteY7" fmla="*/ 4063388 h 5892188"/>
                  <a:gd name="connsiteX8" fmla="*/ 564108 w 5381929"/>
                  <a:gd name="connsiteY8" fmla="*/ 4318570 h 5892188"/>
                  <a:gd name="connsiteX9" fmla="*/ 500313 w 5381929"/>
                  <a:gd name="connsiteY9" fmla="*/ 4977788 h 5892188"/>
                  <a:gd name="connsiteX10" fmla="*/ 1754955 w 5381929"/>
                  <a:gd name="connsiteY10" fmla="*/ 5040755 h 5892188"/>
                  <a:gd name="connsiteX11" fmla="*/ 1946341 w 5381929"/>
                  <a:gd name="connsiteY11" fmla="*/ 5892188 h 5892188"/>
                  <a:gd name="connsiteX12" fmla="*/ 4785234 w 5381929"/>
                  <a:gd name="connsiteY12" fmla="*/ 5860291 h 5892188"/>
                  <a:gd name="connsiteX13" fmla="*/ 4891560 w 5381929"/>
                  <a:gd name="connsiteY13" fmla="*/ 3521128 h 5892188"/>
                  <a:gd name="connsiteX14" fmla="*/ 3030862 w 5381929"/>
                  <a:gd name="connsiteY14" fmla="*/ 1751 h 5892188"/>
                  <a:gd name="connsiteX0" fmla="*/ 3031042 w 5382109"/>
                  <a:gd name="connsiteY0" fmla="*/ 1751 h 5892188"/>
                  <a:gd name="connsiteX1" fmla="*/ 927222 w 5382109"/>
                  <a:gd name="connsiteY1" fmla="*/ 868002 h 5892188"/>
                  <a:gd name="connsiteX2" fmla="*/ 577563 w 5382109"/>
                  <a:gd name="connsiteY2" fmla="*/ 2303910 h 5892188"/>
                  <a:gd name="connsiteX3" fmla="*/ 763 w 5382109"/>
                  <a:gd name="connsiteY3" fmla="*/ 3053295 h 5892188"/>
                  <a:gd name="connsiteX4" fmla="*/ 511126 w 5382109"/>
                  <a:gd name="connsiteY4" fmla="*/ 3329742 h 5892188"/>
                  <a:gd name="connsiteX5" fmla="*/ 340038 w 5382109"/>
                  <a:gd name="connsiteY5" fmla="*/ 3736541 h 5892188"/>
                  <a:gd name="connsiteX6" fmla="*/ 531424 w 5382109"/>
                  <a:gd name="connsiteY6" fmla="*/ 3872002 h 5892188"/>
                  <a:gd name="connsiteX7" fmla="*/ 372902 w 5382109"/>
                  <a:gd name="connsiteY7" fmla="*/ 4063388 h 5892188"/>
                  <a:gd name="connsiteX8" fmla="*/ 564288 w 5382109"/>
                  <a:gd name="connsiteY8" fmla="*/ 4318570 h 5892188"/>
                  <a:gd name="connsiteX9" fmla="*/ 500493 w 5382109"/>
                  <a:gd name="connsiteY9" fmla="*/ 4977788 h 5892188"/>
                  <a:gd name="connsiteX10" fmla="*/ 1755135 w 5382109"/>
                  <a:gd name="connsiteY10" fmla="*/ 5040755 h 5892188"/>
                  <a:gd name="connsiteX11" fmla="*/ 1946521 w 5382109"/>
                  <a:gd name="connsiteY11" fmla="*/ 5892188 h 5892188"/>
                  <a:gd name="connsiteX12" fmla="*/ 4785414 w 5382109"/>
                  <a:gd name="connsiteY12" fmla="*/ 5860291 h 5892188"/>
                  <a:gd name="connsiteX13" fmla="*/ 4891740 w 5382109"/>
                  <a:gd name="connsiteY13" fmla="*/ 3521128 h 5892188"/>
                  <a:gd name="connsiteX14" fmla="*/ 3031042 w 5382109"/>
                  <a:gd name="connsiteY14" fmla="*/ 1751 h 5892188"/>
                  <a:gd name="connsiteX0" fmla="*/ 3031042 w 5382109"/>
                  <a:gd name="connsiteY0" fmla="*/ 2101 h 5892538"/>
                  <a:gd name="connsiteX1" fmla="*/ 913575 w 5382109"/>
                  <a:gd name="connsiteY1" fmla="*/ 827408 h 5892538"/>
                  <a:gd name="connsiteX2" fmla="*/ 577563 w 5382109"/>
                  <a:gd name="connsiteY2" fmla="*/ 2304260 h 5892538"/>
                  <a:gd name="connsiteX3" fmla="*/ 763 w 5382109"/>
                  <a:gd name="connsiteY3" fmla="*/ 3053645 h 5892538"/>
                  <a:gd name="connsiteX4" fmla="*/ 511126 w 5382109"/>
                  <a:gd name="connsiteY4" fmla="*/ 3330092 h 5892538"/>
                  <a:gd name="connsiteX5" fmla="*/ 340038 w 5382109"/>
                  <a:gd name="connsiteY5" fmla="*/ 3736891 h 5892538"/>
                  <a:gd name="connsiteX6" fmla="*/ 531424 w 5382109"/>
                  <a:gd name="connsiteY6" fmla="*/ 3872352 h 5892538"/>
                  <a:gd name="connsiteX7" fmla="*/ 372902 w 5382109"/>
                  <a:gd name="connsiteY7" fmla="*/ 4063738 h 5892538"/>
                  <a:gd name="connsiteX8" fmla="*/ 564288 w 5382109"/>
                  <a:gd name="connsiteY8" fmla="*/ 4318920 h 5892538"/>
                  <a:gd name="connsiteX9" fmla="*/ 500493 w 5382109"/>
                  <a:gd name="connsiteY9" fmla="*/ 4978138 h 5892538"/>
                  <a:gd name="connsiteX10" fmla="*/ 1755135 w 5382109"/>
                  <a:gd name="connsiteY10" fmla="*/ 5041105 h 5892538"/>
                  <a:gd name="connsiteX11" fmla="*/ 1946521 w 5382109"/>
                  <a:gd name="connsiteY11" fmla="*/ 5892538 h 5892538"/>
                  <a:gd name="connsiteX12" fmla="*/ 4785414 w 5382109"/>
                  <a:gd name="connsiteY12" fmla="*/ 5860641 h 5892538"/>
                  <a:gd name="connsiteX13" fmla="*/ 4891740 w 5382109"/>
                  <a:gd name="connsiteY13" fmla="*/ 3521478 h 5892538"/>
                  <a:gd name="connsiteX14" fmla="*/ 3031042 w 5382109"/>
                  <a:gd name="connsiteY14" fmla="*/ 2101 h 5892538"/>
                  <a:gd name="connsiteX0" fmla="*/ 3031042 w 5382109"/>
                  <a:gd name="connsiteY0" fmla="*/ 941 h 5891378"/>
                  <a:gd name="connsiteX1" fmla="*/ 886280 w 5382109"/>
                  <a:gd name="connsiteY1" fmla="*/ 1071908 h 5891378"/>
                  <a:gd name="connsiteX2" fmla="*/ 577563 w 5382109"/>
                  <a:gd name="connsiteY2" fmla="*/ 2303100 h 5891378"/>
                  <a:gd name="connsiteX3" fmla="*/ 763 w 5382109"/>
                  <a:gd name="connsiteY3" fmla="*/ 3052485 h 5891378"/>
                  <a:gd name="connsiteX4" fmla="*/ 511126 w 5382109"/>
                  <a:gd name="connsiteY4" fmla="*/ 3328932 h 5891378"/>
                  <a:gd name="connsiteX5" fmla="*/ 340038 w 5382109"/>
                  <a:gd name="connsiteY5" fmla="*/ 3735731 h 5891378"/>
                  <a:gd name="connsiteX6" fmla="*/ 531424 w 5382109"/>
                  <a:gd name="connsiteY6" fmla="*/ 3871192 h 5891378"/>
                  <a:gd name="connsiteX7" fmla="*/ 372902 w 5382109"/>
                  <a:gd name="connsiteY7" fmla="*/ 4062578 h 5891378"/>
                  <a:gd name="connsiteX8" fmla="*/ 564288 w 5382109"/>
                  <a:gd name="connsiteY8" fmla="*/ 4317760 h 5891378"/>
                  <a:gd name="connsiteX9" fmla="*/ 500493 w 5382109"/>
                  <a:gd name="connsiteY9" fmla="*/ 4976978 h 5891378"/>
                  <a:gd name="connsiteX10" fmla="*/ 1755135 w 5382109"/>
                  <a:gd name="connsiteY10" fmla="*/ 5039945 h 5891378"/>
                  <a:gd name="connsiteX11" fmla="*/ 1946521 w 5382109"/>
                  <a:gd name="connsiteY11" fmla="*/ 5891378 h 5891378"/>
                  <a:gd name="connsiteX12" fmla="*/ 4785414 w 5382109"/>
                  <a:gd name="connsiteY12" fmla="*/ 5859481 h 5891378"/>
                  <a:gd name="connsiteX13" fmla="*/ 4891740 w 5382109"/>
                  <a:gd name="connsiteY13" fmla="*/ 3520318 h 5891378"/>
                  <a:gd name="connsiteX14" fmla="*/ 3031042 w 5382109"/>
                  <a:gd name="connsiteY14" fmla="*/ 941 h 5891378"/>
                  <a:gd name="connsiteX0" fmla="*/ 3031042 w 5382109"/>
                  <a:gd name="connsiteY0" fmla="*/ 753 h 5891190"/>
                  <a:gd name="connsiteX1" fmla="*/ 886280 w 5382109"/>
                  <a:gd name="connsiteY1" fmla="*/ 1071720 h 5891190"/>
                  <a:gd name="connsiteX2" fmla="*/ 577563 w 5382109"/>
                  <a:gd name="connsiteY2" fmla="*/ 2302912 h 5891190"/>
                  <a:gd name="connsiteX3" fmla="*/ 763 w 5382109"/>
                  <a:gd name="connsiteY3" fmla="*/ 3052297 h 5891190"/>
                  <a:gd name="connsiteX4" fmla="*/ 511126 w 5382109"/>
                  <a:gd name="connsiteY4" fmla="*/ 3328744 h 5891190"/>
                  <a:gd name="connsiteX5" fmla="*/ 340038 w 5382109"/>
                  <a:gd name="connsiteY5" fmla="*/ 3735543 h 5891190"/>
                  <a:gd name="connsiteX6" fmla="*/ 531424 w 5382109"/>
                  <a:gd name="connsiteY6" fmla="*/ 3871004 h 5891190"/>
                  <a:gd name="connsiteX7" fmla="*/ 372902 w 5382109"/>
                  <a:gd name="connsiteY7" fmla="*/ 4062390 h 5891190"/>
                  <a:gd name="connsiteX8" fmla="*/ 564288 w 5382109"/>
                  <a:gd name="connsiteY8" fmla="*/ 4317572 h 5891190"/>
                  <a:gd name="connsiteX9" fmla="*/ 500493 w 5382109"/>
                  <a:gd name="connsiteY9" fmla="*/ 4976790 h 5891190"/>
                  <a:gd name="connsiteX10" fmla="*/ 1755135 w 5382109"/>
                  <a:gd name="connsiteY10" fmla="*/ 5039757 h 5891190"/>
                  <a:gd name="connsiteX11" fmla="*/ 1946521 w 5382109"/>
                  <a:gd name="connsiteY11" fmla="*/ 5891190 h 5891190"/>
                  <a:gd name="connsiteX12" fmla="*/ 4785414 w 5382109"/>
                  <a:gd name="connsiteY12" fmla="*/ 5859293 h 5891190"/>
                  <a:gd name="connsiteX13" fmla="*/ 4891740 w 5382109"/>
                  <a:gd name="connsiteY13" fmla="*/ 3520130 h 5891190"/>
                  <a:gd name="connsiteX14" fmla="*/ 3031042 w 5382109"/>
                  <a:gd name="connsiteY14" fmla="*/ 753 h 5891190"/>
                  <a:gd name="connsiteX0" fmla="*/ 3031042 w 5382109"/>
                  <a:gd name="connsiteY0" fmla="*/ 753 h 5891190"/>
                  <a:gd name="connsiteX1" fmla="*/ 886280 w 5382109"/>
                  <a:gd name="connsiteY1" fmla="*/ 1071720 h 5891190"/>
                  <a:gd name="connsiteX2" fmla="*/ 577563 w 5382109"/>
                  <a:gd name="connsiteY2" fmla="*/ 2302912 h 5891190"/>
                  <a:gd name="connsiteX3" fmla="*/ 763 w 5382109"/>
                  <a:gd name="connsiteY3" fmla="*/ 3052297 h 5891190"/>
                  <a:gd name="connsiteX4" fmla="*/ 511126 w 5382109"/>
                  <a:gd name="connsiteY4" fmla="*/ 3328744 h 5891190"/>
                  <a:gd name="connsiteX5" fmla="*/ 340038 w 5382109"/>
                  <a:gd name="connsiteY5" fmla="*/ 3735543 h 5891190"/>
                  <a:gd name="connsiteX6" fmla="*/ 531424 w 5382109"/>
                  <a:gd name="connsiteY6" fmla="*/ 3871004 h 5891190"/>
                  <a:gd name="connsiteX7" fmla="*/ 372902 w 5382109"/>
                  <a:gd name="connsiteY7" fmla="*/ 4062390 h 5891190"/>
                  <a:gd name="connsiteX8" fmla="*/ 564288 w 5382109"/>
                  <a:gd name="connsiteY8" fmla="*/ 4317572 h 5891190"/>
                  <a:gd name="connsiteX9" fmla="*/ 500493 w 5382109"/>
                  <a:gd name="connsiteY9" fmla="*/ 4976790 h 5891190"/>
                  <a:gd name="connsiteX10" fmla="*/ 1755135 w 5382109"/>
                  <a:gd name="connsiteY10" fmla="*/ 5039757 h 5891190"/>
                  <a:gd name="connsiteX11" fmla="*/ 1946521 w 5382109"/>
                  <a:gd name="connsiteY11" fmla="*/ 5891190 h 5891190"/>
                  <a:gd name="connsiteX12" fmla="*/ 4785414 w 5382109"/>
                  <a:gd name="connsiteY12" fmla="*/ 5859293 h 5891190"/>
                  <a:gd name="connsiteX13" fmla="*/ 4891740 w 5382109"/>
                  <a:gd name="connsiteY13" fmla="*/ 3520130 h 5891190"/>
                  <a:gd name="connsiteX14" fmla="*/ 3031042 w 5382109"/>
                  <a:gd name="connsiteY14" fmla="*/ 753 h 5891190"/>
                  <a:gd name="connsiteX0" fmla="*/ 3031042 w 5382109"/>
                  <a:gd name="connsiteY0" fmla="*/ 792 h 5891229"/>
                  <a:gd name="connsiteX1" fmla="*/ 777098 w 5382109"/>
                  <a:gd name="connsiteY1" fmla="*/ 1044464 h 5891229"/>
                  <a:gd name="connsiteX2" fmla="*/ 577563 w 5382109"/>
                  <a:gd name="connsiteY2" fmla="*/ 2302951 h 5891229"/>
                  <a:gd name="connsiteX3" fmla="*/ 763 w 5382109"/>
                  <a:gd name="connsiteY3" fmla="*/ 3052336 h 5891229"/>
                  <a:gd name="connsiteX4" fmla="*/ 511126 w 5382109"/>
                  <a:gd name="connsiteY4" fmla="*/ 3328783 h 5891229"/>
                  <a:gd name="connsiteX5" fmla="*/ 340038 w 5382109"/>
                  <a:gd name="connsiteY5" fmla="*/ 3735582 h 5891229"/>
                  <a:gd name="connsiteX6" fmla="*/ 531424 w 5382109"/>
                  <a:gd name="connsiteY6" fmla="*/ 3871043 h 5891229"/>
                  <a:gd name="connsiteX7" fmla="*/ 372902 w 5382109"/>
                  <a:gd name="connsiteY7" fmla="*/ 4062429 h 5891229"/>
                  <a:gd name="connsiteX8" fmla="*/ 564288 w 5382109"/>
                  <a:gd name="connsiteY8" fmla="*/ 4317611 h 5891229"/>
                  <a:gd name="connsiteX9" fmla="*/ 500493 w 5382109"/>
                  <a:gd name="connsiteY9" fmla="*/ 4976829 h 5891229"/>
                  <a:gd name="connsiteX10" fmla="*/ 1755135 w 5382109"/>
                  <a:gd name="connsiteY10" fmla="*/ 5039796 h 5891229"/>
                  <a:gd name="connsiteX11" fmla="*/ 1946521 w 5382109"/>
                  <a:gd name="connsiteY11" fmla="*/ 5891229 h 5891229"/>
                  <a:gd name="connsiteX12" fmla="*/ 4785414 w 5382109"/>
                  <a:gd name="connsiteY12" fmla="*/ 5859332 h 5891229"/>
                  <a:gd name="connsiteX13" fmla="*/ 4891740 w 5382109"/>
                  <a:gd name="connsiteY13" fmla="*/ 3520169 h 5891229"/>
                  <a:gd name="connsiteX14" fmla="*/ 3031042 w 5382109"/>
                  <a:gd name="connsiteY14" fmla="*/ 792 h 5891229"/>
                  <a:gd name="connsiteX0" fmla="*/ 3031042 w 5382109"/>
                  <a:gd name="connsiteY0" fmla="*/ 792 h 5891229"/>
                  <a:gd name="connsiteX1" fmla="*/ 777098 w 5382109"/>
                  <a:gd name="connsiteY1" fmla="*/ 1044464 h 5891229"/>
                  <a:gd name="connsiteX2" fmla="*/ 577563 w 5382109"/>
                  <a:gd name="connsiteY2" fmla="*/ 2302951 h 5891229"/>
                  <a:gd name="connsiteX3" fmla="*/ 763 w 5382109"/>
                  <a:gd name="connsiteY3" fmla="*/ 3052336 h 5891229"/>
                  <a:gd name="connsiteX4" fmla="*/ 511126 w 5382109"/>
                  <a:gd name="connsiteY4" fmla="*/ 3328783 h 5891229"/>
                  <a:gd name="connsiteX5" fmla="*/ 340038 w 5382109"/>
                  <a:gd name="connsiteY5" fmla="*/ 3735582 h 5891229"/>
                  <a:gd name="connsiteX6" fmla="*/ 531424 w 5382109"/>
                  <a:gd name="connsiteY6" fmla="*/ 3871043 h 5891229"/>
                  <a:gd name="connsiteX7" fmla="*/ 372902 w 5382109"/>
                  <a:gd name="connsiteY7" fmla="*/ 4062429 h 5891229"/>
                  <a:gd name="connsiteX8" fmla="*/ 564288 w 5382109"/>
                  <a:gd name="connsiteY8" fmla="*/ 4317611 h 5891229"/>
                  <a:gd name="connsiteX9" fmla="*/ 500493 w 5382109"/>
                  <a:gd name="connsiteY9" fmla="*/ 4976829 h 5891229"/>
                  <a:gd name="connsiteX10" fmla="*/ 1755135 w 5382109"/>
                  <a:gd name="connsiteY10" fmla="*/ 5039796 h 5891229"/>
                  <a:gd name="connsiteX11" fmla="*/ 1946521 w 5382109"/>
                  <a:gd name="connsiteY11" fmla="*/ 5891229 h 5891229"/>
                  <a:gd name="connsiteX12" fmla="*/ 4785414 w 5382109"/>
                  <a:gd name="connsiteY12" fmla="*/ 5859332 h 5891229"/>
                  <a:gd name="connsiteX13" fmla="*/ 4891740 w 5382109"/>
                  <a:gd name="connsiteY13" fmla="*/ 3520169 h 5891229"/>
                  <a:gd name="connsiteX14" fmla="*/ 3031042 w 5382109"/>
                  <a:gd name="connsiteY14" fmla="*/ 792 h 5891229"/>
                  <a:gd name="connsiteX0" fmla="*/ 3031042 w 5382109"/>
                  <a:gd name="connsiteY0" fmla="*/ 792 h 5891229"/>
                  <a:gd name="connsiteX1" fmla="*/ 777098 w 5382109"/>
                  <a:gd name="connsiteY1" fmla="*/ 1044464 h 5891229"/>
                  <a:gd name="connsiteX2" fmla="*/ 577563 w 5382109"/>
                  <a:gd name="connsiteY2" fmla="*/ 2302951 h 5891229"/>
                  <a:gd name="connsiteX3" fmla="*/ 763 w 5382109"/>
                  <a:gd name="connsiteY3" fmla="*/ 3052336 h 5891229"/>
                  <a:gd name="connsiteX4" fmla="*/ 511126 w 5382109"/>
                  <a:gd name="connsiteY4" fmla="*/ 3328783 h 5891229"/>
                  <a:gd name="connsiteX5" fmla="*/ 340038 w 5382109"/>
                  <a:gd name="connsiteY5" fmla="*/ 3735582 h 5891229"/>
                  <a:gd name="connsiteX6" fmla="*/ 531424 w 5382109"/>
                  <a:gd name="connsiteY6" fmla="*/ 3871043 h 5891229"/>
                  <a:gd name="connsiteX7" fmla="*/ 372902 w 5382109"/>
                  <a:gd name="connsiteY7" fmla="*/ 4062429 h 5891229"/>
                  <a:gd name="connsiteX8" fmla="*/ 564288 w 5382109"/>
                  <a:gd name="connsiteY8" fmla="*/ 4317611 h 5891229"/>
                  <a:gd name="connsiteX9" fmla="*/ 500493 w 5382109"/>
                  <a:gd name="connsiteY9" fmla="*/ 4976829 h 5891229"/>
                  <a:gd name="connsiteX10" fmla="*/ 1755135 w 5382109"/>
                  <a:gd name="connsiteY10" fmla="*/ 5039796 h 5891229"/>
                  <a:gd name="connsiteX11" fmla="*/ 1946521 w 5382109"/>
                  <a:gd name="connsiteY11" fmla="*/ 5891229 h 5891229"/>
                  <a:gd name="connsiteX12" fmla="*/ 4785414 w 5382109"/>
                  <a:gd name="connsiteY12" fmla="*/ 5859332 h 5891229"/>
                  <a:gd name="connsiteX13" fmla="*/ 4891740 w 5382109"/>
                  <a:gd name="connsiteY13" fmla="*/ 3520169 h 5891229"/>
                  <a:gd name="connsiteX14" fmla="*/ 3031042 w 5382109"/>
                  <a:gd name="connsiteY14" fmla="*/ 792 h 5891229"/>
                  <a:gd name="connsiteX0" fmla="*/ 3031042 w 5382109"/>
                  <a:gd name="connsiteY0" fmla="*/ 627 h 5891064"/>
                  <a:gd name="connsiteX1" fmla="*/ 777098 w 5382109"/>
                  <a:gd name="connsiteY1" fmla="*/ 1180776 h 5891064"/>
                  <a:gd name="connsiteX2" fmla="*/ 577563 w 5382109"/>
                  <a:gd name="connsiteY2" fmla="*/ 2302786 h 5891064"/>
                  <a:gd name="connsiteX3" fmla="*/ 763 w 5382109"/>
                  <a:gd name="connsiteY3" fmla="*/ 3052171 h 5891064"/>
                  <a:gd name="connsiteX4" fmla="*/ 511126 w 5382109"/>
                  <a:gd name="connsiteY4" fmla="*/ 3328618 h 5891064"/>
                  <a:gd name="connsiteX5" fmla="*/ 340038 w 5382109"/>
                  <a:gd name="connsiteY5" fmla="*/ 3735417 h 5891064"/>
                  <a:gd name="connsiteX6" fmla="*/ 531424 w 5382109"/>
                  <a:gd name="connsiteY6" fmla="*/ 3870878 h 5891064"/>
                  <a:gd name="connsiteX7" fmla="*/ 372902 w 5382109"/>
                  <a:gd name="connsiteY7" fmla="*/ 4062264 h 5891064"/>
                  <a:gd name="connsiteX8" fmla="*/ 564288 w 5382109"/>
                  <a:gd name="connsiteY8" fmla="*/ 4317446 h 5891064"/>
                  <a:gd name="connsiteX9" fmla="*/ 500493 w 5382109"/>
                  <a:gd name="connsiteY9" fmla="*/ 4976664 h 5891064"/>
                  <a:gd name="connsiteX10" fmla="*/ 1755135 w 5382109"/>
                  <a:gd name="connsiteY10" fmla="*/ 5039631 h 5891064"/>
                  <a:gd name="connsiteX11" fmla="*/ 1946521 w 5382109"/>
                  <a:gd name="connsiteY11" fmla="*/ 5891064 h 5891064"/>
                  <a:gd name="connsiteX12" fmla="*/ 4785414 w 5382109"/>
                  <a:gd name="connsiteY12" fmla="*/ 5859167 h 5891064"/>
                  <a:gd name="connsiteX13" fmla="*/ 4891740 w 5382109"/>
                  <a:gd name="connsiteY13" fmla="*/ 3520004 h 5891064"/>
                  <a:gd name="connsiteX14" fmla="*/ 3031042 w 5382109"/>
                  <a:gd name="connsiteY14" fmla="*/ 627 h 5891064"/>
                  <a:gd name="connsiteX0" fmla="*/ 3031042 w 5382109"/>
                  <a:gd name="connsiteY0" fmla="*/ 968 h 5891405"/>
                  <a:gd name="connsiteX1" fmla="*/ 777098 w 5382109"/>
                  <a:gd name="connsiteY1" fmla="*/ 1181117 h 5891405"/>
                  <a:gd name="connsiteX2" fmla="*/ 577563 w 5382109"/>
                  <a:gd name="connsiteY2" fmla="*/ 2303127 h 5891405"/>
                  <a:gd name="connsiteX3" fmla="*/ 763 w 5382109"/>
                  <a:gd name="connsiteY3" fmla="*/ 3052512 h 5891405"/>
                  <a:gd name="connsiteX4" fmla="*/ 511126 w 5382109"/>
                  <a:gd name="connsiteY4" fmla="*/ 3328959 h 5891405"/>
                  <a:gd name="connsiteX5" fmla="*/ 340038 w 5382109"/>
                  <a:gd name="connsiteY5" fmla="*/ 3735758 h 5891405"/>
                  <a:gd name="connsiteX6" fmla="*/ 531424 w 5382109"/>
                  <a:gd name="connsiteY6" fmla="*/ 3871219 h 5891405"/>
                  <a:gd name="connsiteX7" fmla="*/ 372902 w 5382109"/>
                  <a:gd name="connsiteY7" fmla="*/ 4062605 h 5891405"/>
                  <a:gd name="connsiteX8" fmla="*/ 564288 w 5382109"/>
                  <a:gd name="connsiteY8" fmla="*/ 4317787 h 5891405"/>
                  <a:gd name="connsiteX9" fmla="*/ 500493 w 5382109"/>
                  <a:gd name="connsiteY9" fmla="*/ 4977005 h 5891405"/>
                  <a:gd name="connsiteX10" fmla="*/ 1755135 w 5382109"/>
                  <a:gd name="connsiteY10" fmla="*/ 5039972 h 5891405"/>
                  <a:gd name="connsiteX11" fmla="*/ 1946521 w 5382109"/>
                  <a:gd name="connsiteY11" fmla="*/ 5891405 h 5891405"/>
                  <a:gd name="connsiteX12" fmla="*/ 4785414 w 5382109"/>
                  <a:gd name="connsiteY12" fmla="*/ 5859508 h 5891405"/>
                  <a:gd name="connsiteX13" fmla="*/ 4891740 w 5382109"/>
                  <a:gd name="connsiteY13" fmla="*/ 3520345 h 5891405"/>
                  <a:gd name="connsiteX14" fmla="*/ 3031042 w 5382109"/>
                  <a:gd name="connsiteY14" fmla="*/ 968 h 5891405"/>
                  <a:gd name="connsiteX0" fmla="*/ 3031042 w 5382109"/>
                  <a:gd name="connsiteY0" fmla="*/ 968 h 5891405"/>
                  <a:gd name="connsiteX1" fmla="*/ 777098 w 5382109"/>
                  <a:gd name="connsiteY1" fmla="*/ 1181117 h 5891405"/>
                  <a:gd name="connsiteX2" fmla="*/ 577563 w 5382109"/>
                  <a:gd name="connsiteY2" fmla="*/ 2303127 h 5891405"/>
                  <a:gd name="connsiteX3" fmla="*/ 763 w 5382109"/>
                  <a:gd name="connsiteY3" fmla="*/ 3052512 h 5891405"/>
                  <a:gd name="connsiteX4" fmla="*/ 511126 w 5382109"/>
                  <a:gd name="connsiteY4" fmla="*/ 3328959 h 5891405"/>
                  <a:gd name="connsiteX5" fmla="*/ 340038 w 5382109"/>
                  <a:gd name="connsiteY5" fmla="*/ 3735758 h 5891405"/>
                  <a:gd name="connsiteX6" fmla="*/ 531424 w 5382109"/>
                  <a:gd name="connsiteY6" fmla="*/ 3871219 h 5891405"/>
                  <a:gd name="connsiteX7" fmla="*/ 372902 w 5382109"/>
                  <a:gd name="connsiteY7" fmla="*/ 4062605 h 5891405"/>
                  <a:gd name="connsiteX8" fmla="*/ 564288 w 5382109"/>
                  <a:gd name="connsiteY8" fmla="*/ 4317787 h 5891405"/>
                  <a:gd name="connsiteX9" fmla="*/ 500493 w 5382109"/>
                  <a:gd name="connsiteY9" fmla="*/ 4977005 h 5891405"/>
                  <a:gd name="connsiteX10" fmla="*/ 1755135 w 5382109"/>
                  <a:gd name="connsiteY10" fmla="*/ 5039972 h 5891405"/>
                  <a:gd name="connsiteX11" fmla="*/ 1946521 w 5382109"/>
                  <a:gd name="connsiteY11" fmla="*/ 5891405 h 5891405"/>
                  <a:gd name="connsiteX12" fmla="*/ 4785414 w 5382109"/>
                  <a:gd name="connsiteY12" fmla="*/ 5859508 h 5891405"/>
                  <a:gd name="connsiteX13" fmla="*/ 4891740 w 5382109"/>
                  <a:gd name="connsiteY13" fmla="*/ 3520345 h 5891405"/>
                  <a:gd name="connsiteX14" fmla="*/ 3031042 w 5382109"/>
                  <a:gd name="connsiteY14" fmla="*/ 968 h 5891405"/>
                  <a:gd name="connsiteX0" fmla="*/ 3031204 w 5382271"/>
                  <a:gd name="connsiteY0" fmla="*/ 968 h 5891405"/>
                  <a:gd name="connsiteX1" fmla="*/ 777260 w 5382271"/>
                  <a:gd name="connsiteY1" fmla="*/ 1181117 h 5891405"/>
                  <a:gd name="connsiteX2" fmla="*/ 523134 w 5382271"/>
                  <a:gd name="connsiteY2" fmla="*/ 2303127 h 5891405"/>
                  <a:gd name="connsiteX3" fmla="*/ 925 w 5382271"/>
                  <a:gd name="connsiteY3" fmla="*/ 3052512 h 5891405"/>
                  <a:gd name="connsiteX4" fmla="*/ 511288 w 5382271"/>
                  <a:gd name="connsiteY4" fmla="*/ 3328959 h 5891405"/>
                  <a:gd name="connsiteX5" fmla="*/ 340200 w 5382271"/>
                  <a:gd name="connsiteY5" fmla="*/ 3735758 h 5891405"/>
                  <a:gd name="connsiteX6" fmla="*/ 531586 w 5382271"/>
                  <a:gd name="connsiteY6" fmla="*/ 3871219 h 5891405"/>
                  <a:gd name="connsiteX7" fmla="*/ 373064 w 5382271"/>
                  <a:gd name="connsiteY7" fmla="*/ 4062605 h 5891405"/>
                  <a:gd name="connsiteX8" fmla="*/ 564450 w 5382271"/>
                  <a:gd name="connsiteY8" fmla="*/ 4317787 h 5891405"/>
                  <a:gd name="connsiteX9" fmla="*/ 500655 w 5382271"/>
                  <a:gd name="connsiteY9" fmla="*/ 4977005 h 5891405"/>
                  <a:gd name="connsiteX10" fmla="*/ 1755297 w 5382271"/>
                  <a:gd name="connsiteY10" fmla="*/ 5039972 h 5891405"/>
                  <a:gd name="connsiteX11" fmla="*/ 1946683 w 5382271"/>
                  <a:gd name="connsiteY11" fmla="*/ 5891405 h 5891405"/>
                  <a:gd name="connsiteX12" fmla="*/ 4785576 w 5382271"/>
                  <a:gd name="connsiteY12" fmla="*/ 5859508 h 5891405"/>
                  <a:gd name="connsiteX13" fmla="*/ 4891902 w 5382271"/>
                  <a:gd name="connsiteY13" fmla="*/ 3520345 h 5891405"/>
                  <a:gd name="connsiteX14" fmla="*/ 3031204 w 5382271"/>
                  <a:gd name="connsiteY14" fmla="*/ 968 h 5891405"/>
                  <a:gd name="connsiteX0" fmla="*/ 3031204 w 5382271"/>
                  <a:gd name="connsiteY0" fmla="*/ 968 h 5891405"/>
                  <a:gd name="connsiteX1" fmla="*/ 777260 w 5382271"/>
                  <a:gd name="connsiteY1" fmla="*/ 1181117 h 5891405"/>
                  <a:gd name="connsiteX2" fmla="*/ 523134 w 5382271"/>
                  <a:gd name="connsiteY2" fmla="*/ 2303127 h 5891405"/>
                  <a:gd name="connsiteX3" fmla="*/ 925 w 5382271"/>
                  <a:gd name="connsiteY3" fmla="*/ 3052512 h 5891405"/>
                  <a:gd name="connsiteX4" fmla="*/ 511288 w 5382271"/>
                  <a:gd name="connsiteY4" fmla="*/ 3328959 h 5891405"/>
                  <a:gd name="connsiteX5" fmla="*/ 340200 w 5382271"/>
                  <a:gd name="connsiteY5" fmla="*/ 3735758 h 5891405"/>
                  <a:gd name="connsiteX6" fmla="*/ 531586 w 5382271"/>
                  <a:gd name="connsiteY6" fmla="*/ 3871219 h 5891405"/>
                  <a:gd name="connsiteX7" fmla="*/ 373064 w 5382271"/>
                  <a:gd name="connsiteY7" fmla="*/ 4062605 h 5891405"/>
                  <a:gd name="connsiteX8" fmla="*/ 564450 w 5382271"/>
                  <a:gd name="connsiteY8" fmla="*/ 4317787 h 5891405"/>
                  <a:gd name="connsiteX9" fmla="*/ 500655 w 5382271"/>
                  <a:gd name="connsiteY9" fmla="*/ 4977005 h 5891405"/>
                  <a:gd name="connsiteX10" fmla="*/ 1755297 w 5382271"/>
                  <a:gd name="connsiteY10" fmla="*/ 5039972 h 5891405"/>
                  <a:gd name="connsiteX11" fmla="*/ 1946683 w 5382271"/>
                  <a:gd name="connsiteY11" fmla="*/ 5891405 h 5891405"/>
                  <a:gd name="connsiteX12" fmla="*/ 4785576 w 5382271"/>
                  <a:gd name="connsiteY12" fmla="*/ 5859508 h 5891405"/>
                  <a:gd name="connsiteX13" fmla="*/ 4891902 w 5382271"/>
                  <a:gd name="connsiteY13" fmla="*/ 3520345 h 5891405"/>
                  <a:gd name="connsiteX14" fmla="*/ 3031204 w 5382271"/>
                  <a:gd name="connsiteY14" fmla="*/ 968 h 5891405"/>
                  <a:gd name="connsiteX0" fmla="*/ 3031204 w 5382271"/>
                  <a:gd name="connsiteY0" fmla="*/ 968 h 5891405"/>
                  <a:gd name="connsiteX1" fmla="*/ 777260 w 5382271"/>
                  <a:gd name="connsiteY1" fmla="*/ 1181117 h 5891405"/>
                  <a:gd name="connsiteX2" fmla="*/ 523134 w 5382271"/>
                  <a:gd name="connsiteY2" fmla="*/ 2303127 h 5891405"/>
                  <a:gd name="connsiteX3" fmla="*/ 925 w 5382271"/>
                  <a:gd name="connsiteY3" fmla="*/ 3052512 h 5891405"/>
                  <a:gd name="connsiteX4" fmla="*/ 511288 w 5382271"/>
                  <a:gd name="connsiteY4" fmla="*/ 3328959 h 5891405"/>
                  <a:gd name="connsiteX5" fmla="*/ 340200 w 5382271"/>
                  <a:gd name="connsiteY5" fmla="*/ 3735758 h 5891405"/>
                  <a:gd name="connsiteX6" fmla="*/ 531586 w 5382271"/>
                  <a:gd name="connsiteY6" fmla="*/ 3871219 h 5891405"/>
                  <a:gd name="connsiteX7" fmla="*/ 373064 w 5382271"/>
                  <a:gd name="connsiteY7" fmla="*/ 4062605 h 5891405"/>
                  <a:gd name="connsiteX8" fmla="*/ 564450 w 5382271"/>
                  <a:gd name="connsiteY8" fmla="*/ 4317787 h 5891405"/>
                  <a:gd name="connsiteX9" fmla="*/ 500655 w 5382271"/>
                  <a:gd name="connsiteY9" fmla="*/ 4977005 h 5891405"/>
                  <a:gd name="connsiteX10" fmla="*/ 1755297 w 5382271"/>
                  <a:gd name="connsiteY10" fmla="*/ 5039972 h 5891405"/>
                  <a:gd name="connsiteX11" fmla="*/ 1946683 w 5382271"/>
                  <a:gd name="connsiteY11" fmla="*/ 5891405 h 5891405"/>
                  <a:gd name="connsiteX12" fmla="*/ 4785576 w 5382271"/>
                  <a:gd name="connsiteY12" fmla="*/ 5859508 h 5891405"/>
                  <a:gd name="connsiteX13" fmla="*/ 4891902 w 5382271"/>
                  <a:gd name="connsiteY13" fmla="*/ 3520345 h 5891405"/>
                  <a:gd name="connsiteX14" fmla="*/ 3031204 w 5382271"/>
                  <a:gd name="connsiteY14" fmla="*/ 968 h 5891405"/>
                  <a:gd name="connsiteX0" fmla="*/ 3038119 w 5389186"/>
                  <a:gd name="connsiteY0" fmla="*/ 968 h 5891405"/>
                  <a:gd name="connsiteX1" fmla="*/ 784175 w 5389186"/>
                  <a:gd name="connsiteY1" fmla="*/ 1181117 h 5891405"/>
                  <a:gd name="connsiteX2" fmla="*/ 530049 w 5389186"/>
                  <a:gd name="connsiteY2" fmla="*/ 2303127 h 5891405"/>
                  <a:gd name="connsiteX3" fmla="*/ 7840 w 5389186"/>
                  <a:gd name="connsiteY3" fmla="*/ 3052512 h 5891405"/>
                  <a:gd name="connsiteX4" fmla="*/ 518203 w 5389186"/>
                  <a:gd name="connsiteY4" fmla="*/ 3328959 h 5891405"/>
                  <a:gd name="connsiteX5" fmla="*/ 347115 w 5389186"/>
                  <a:gd name="connsiteY5" fmla="*/ 3735758 h 5891405"/>
                  <a:gd name="connsiteX6" fmla="*/ 538501 w 5389186"/>
                  <a:gd name="connsiteY6" fmla="*/ 3871219 h 5891405"/>
                  <a:gd name="connsiteX7" fmla="*/ 379979 w 5389186"/>
                  <a:gd name="connsiteY7" fmla="*/ 4062605 h 5891405"/>
                  <a:gd name="connsiteX8" fmla="*/ 571365 w 5389186"/>
                  <a:gd name="connsiteY8" fmla="*/ 4317787 h 5891405"/>
                  <a:gd name="connsiteX9" fmla="*/ 507570 w 5389186"/>
                  <a:gd name="connsiteY9" fmla="*/ 4977005 h 5891405"/>
                  <a:gd name="connsiteX10" fmla="*/ 1762212 w 5389186"/>
                  <a:gd name="connsiteY10" fmla="*/ 5039972 h 5891405"/>
                  <a:gd name="connsiteX11" fmla="*/ 1953598 w 5389186"/>
                  <a:gd name="connsiteY11" fmla="*/ 5891405 h 5891405"/>
                  <a:gd name="connsiteX12" fmla="*/ 4792491 w 5389186"/>
                  <a:gd name="connsiteY12" fmla="*/ 5859508 h 5891405"/>
                  <a:gd name="connsiteX13" fmla="*/ 4898817 w 5389186"/>
                  <a:gd name="connsiteY13" fmla="*/ 3520345 h 5891405"/>
                  <a:gd name="connsiteX14" fmla="*/ 3038119 w 5389186"/>
                  <a:gd name="connsiteY14" fmla="*/ 968 h 5891405"/>
                  <a:gd name="connsiteX0" fmla="*/ 3037057 w 5388124"/>
                  <a:gd name="connsiteY0" fmla="*/ 968 h 5891405"/>
                  <a:gd name="connsiteX1" fmla="*/ 783113 w 5388124"/>
                  <a:gd name="connsiteY1" fmla="*/ 1181117 h 5891405"/>
                  <a:gd name="connsiteX2" fmla="*/ 528987 w 5388124"/>
                  <a:gd name="connsiteY2" fmla="*/ 2303127 h 5891405"/>
                  <a:gd name="connsiteX3" fmla="*/ 6778 w 5388124"/>
                  <a:gd name="connsiteY3" fmla="*/ 3052512 h 5891405"/>
                  <a:gd name="connsiteX4" fmla="*/ 517141 w 5388124"/>
                  <a:gd name="connsiteY4" fmla="*/ 3328959 h 5891405"/>
                  <a:gd name="connsiteX5" fmla="*/ 346053 w 5388124"/>
                  <a:gd name="connsiteY5" fmla="*/ 3735758 h 5891405"/>
                  <a:gd name="connsiteX6" fmla="*/ 537439 w 5388124"/>
                  <a:gd name="connsiteY6" fmla="*/ 3871219 h 5891405"/>
                  <a:gd name="connsiteX7" fmla="*/ 378917 w 5388124"/>
                  <a:gd name="connsiteY7" fmla="*/ 4062605 h 5891405"/>
                  <a:gd name="connsiteX8" fmla="*/ 570303 w 5388124"/>
                  <a:gd name="connsiteY8" fmla="*/ 4317787 h 5891405"/>
                  <a:gd name="connsiteX9" fmla="*/ 506508 w 5388124"/>
                  <a:gd name="connsiteY9" fmla="*/ 4977005 h 5891405"/>
                  <a:gd name="connsiteX10" fmla="*/ 1761150 w 5388124"/>
                  <a:gd name="connsiteY10" fmla="*/ 5039972 h 5891405"/>
                  <a:gd name="connsiteX11" fmla="*/ 1952536 w 5388124"/>
                  <a:gd name="connsiteY11" fmla="*/ 5891405 h 5891405"/>
                  <a:gd name="connsiteX12" fmla="*/ 4791429 w 5388124"/>
                  <a:gd name="connsiteY12" fmla="*/ 5859508 h 5891405"/>
                  <a:gd name="connsiteX13" fmla="*/ 4897755 w 5388124"/>
                  <a:gd name="connsiteY13" fmla="*/ 3520345 h 5891405"/>
                  <a:gd name="connsiteX14" fmla="*/ 3037057 w 5388124"/>
                  <a:gd name="connsiteY14" fmla="*/ 968 h 5891405"/>
                  <a:gd name="connsiteX0" fmla="*/ 3034541 w 5385608"/>
                  <a:gd name="connsiteY0" fmla="*/ 968 h 5891405"/>
                  <a:gd name="connsiteX1" fmla="*/ 780597 w 5385608"/>
                  <a:gd name="connsiteY1" fmla="*/ 1181117 h 5891405"/>
                  <a:gd name="connsiteX2" fmla="*/ 526471 w 5385608"/>
                  <a:gd name="connsiteY2" fmla="*/ 2303127 h 5891405"/>
                  <a:gd name="connsiteX3" fmla="*/ 4262 w 5385608"/>
                  <a:gd name="connsiteY3" fmla="*/ 3052512 h 5891405"/>
                  <a:gd name="connsiteX4" fmla="*/ 514625 w 5385608"/>
                  <a:gd name="connsiteY4" fmla="*/ 3328959 h 5891405"/>
                  <a:gd name="connsiteX5" fmla="*/ 343537 w 5385608"/>
                  <a:gd name="connsiteY5" fmla="*/ 3735758 h 5891405"/>
                  <a:gd name="connsiteX6" fmla="*/ 534923 w 5385608"/>
                  <a:gd name="connsiteY6" fmla="*/ 3871219 h 5891405"/>
                  <a:gd name="connsiteX7" fmla="*/ 376401 w 5385608"/>
                  <a:gd name="connsiteY7" fmla="*/ 4062605 h 5891405"/>
                  <a:gd name="connsiteX8" fmla="*/ 567787 w 5385608"/>
                  <a:gd name="connsiteY8" fmla="*/ 4317787 h 5891405"/>
                  <a:gd name="connsiteX9" fmla="*/ 503992 w 5385608"/>
                  <a:gd name="connsiteY9" fmla="*/ 4977005 h 5891405"/>
                  <a:gd name="connsiteX10" fmla="*/ 1758634 w 5385608"/>
                  <a:gd name="connsiteY10" fmla="*/ 5039972 h 5891405"/>
                  <a:gd name="connsiteX11" fmla="*/ 1950020 w 5385608"/>
                  <a:gd name="connsiteY11" fmla="*/ 5891405 h 5891405"/>
                  <a:gd name="connsiteX12" fmla="*/ 4788913 w 5385608"/>
                  <a:gd name="connsiteY12" fmla="*/ 5859508 h 5891405"/>
                  <a:gd name="connsiteX13" fmla="*/ 4895239 w 5385608"/>
                  <a:gd name="connsiteY13" fmla="*/ 3520345 h 5891405"/>
                  <a:gd name="connsiteX14" fmla="*/ 3034541 w 5385608"/>
                  <a:gd name="connsiteY14" fmla="*/ 968 h 5891405"/>
                  <a:gd name="connsiteX0" fmla="*/ 3034541 w 5385608"/>
                  <a:gd name="connsiteY0" fmla="*/ 968 h 5891405"/>
                  <a:gd name="connsiteX1" fmla="*/ 780597 w 5385608"/>
                  <a:gd name="connsiteY1" fmla="*/ 1181117 h 5891405"/>
                  <a:gd name="connsiteX2" fmla="*/ 526471 w 5385608"/>
                  <a:gd name="connsiteY2" fmla="*/ 2303127 h 5891405"/>
                  <a:gd name="connsiteX3" fmla="*/ 4262 w 5385608"/>
                  <a:gd name="connsiteY3" fmla="*/ 3052512 h 5891405"/>
                  <a:gd name="connsiteX4" fmla="*/ 514625 w 5385608"/>
                  <a:gd name="connsiteY4" fmla="*/ 3328959 h 5891405"/>
                  <a:gd name="connsiteX5" fmla="*/ 343537 w 5385608"/>
                  <a:gd name="connsiteY5" fmla="*/ 3735758 h 5891405"/>
                  <a:gd name="connsiteX6" fmla="*/ 534923 w 5385608"/>
                  <a:gd name="connsiteY6" fmla="*/ 3871219 h 5891405"/>
                  <a:gd name="connsiteX7" fmla="*/ 376401 w 5385608"/>
                  <a:gd name="connsiteY7" fmla="*/ 4062605 h 5891405"/>
                  <a:gd name="connsiteX8" fmla="*/ 567787 w 5385608"/>
                  <a:gd name="connsiteY8" fmla="*/ 4317787 h 5891405"/>
                  <a:gd name="connsiteX9" fmla="*/ 503992 w 5385608"/>
                  <a:gd name="connsiteY9" fmla="*/ 4977005 h 5891405"/>
                  <a:gd name="connsiteX10" fmla="*/ 1758634 w 5385608"/>
                  <a:gd name="connsiteY10" fmla="*/ 5039972 h 5891405"/>
                  <a:gd name="connsiteX11" fmla="*/ 1950020 w 5385608"/>
                  <a:gd name="connsiteY11" fmla="*/ 5891405 h 5891405"/>
                  <a:gd name="connsiteX12" fmla="*/ 4788913 w 5385608"/>
                  <a:gd name="connsiteY12" fmla="*/ 5859508 h 5891405"/>
                  <a:gd name="connsiteX13" fmla="*/ 4895239 w 5385608"/>
                  <a:gd name="connsiteY13" fmla="*/ 3520345 h 5891405"/>
                  <a:gd name="connsiteX14" fmla="*/ 3034541 w 5385608"/>
                  <a:gd name="connsiteY14" fmla="*/ 968 h 5891405"/>
                  <a:gd name="connsiteX0" fmla="*/ 2980702 w 5331769"/>
                  <a:gd name="connsiteY0" fmla="*/ 968 h 5891405"/>
                  <a:gd name="connsiteX1" fmla="*/ 726758 w 5331769"/>
                  <a:gd name="connsiteY1" fmla="*/ 1181117 h 5891405"/>
                  <a:gd name="connsiteX2" fmla="*/ 472632 w 5331769"/>
                  <a:gd name="connsiteY2" fmla="*/ 2303127 h 5891405"/>
                  <a:gd name="connsiteX3" fmla="*/ 5014 w 5331769"/>
                  <a:gd name="connsiteY3" fmla="*/ 3079808 h 5891405"/>
                  <a:gd name="connsiteX4" fmla="*/ 460786 w 5331769"/>
                  <a:gd name="connsiteY4" fmla="*/ 3328959 h 5891405"/>
                  <a:gd name="connsiteX5" fmla="*/ 289698 w 5331769"/>
                  <a:gd name="connsiteY5" fmla="*/ 3735758 h 5891405"/>
                  <a:gd name="connsiteX6" fmla="*/ 481084 w 5331769"/>
                  <a:gd name="connsiteY6" fmla="*/ 3871219 h 5891405"/>
                  <a:gd name="connsiteX7" fmla="*/ 322562 w 5331769"/>
                  <a:gd name="connsiteY7" fmla="*/ 4062605 h 5891405"/>
                  <a:gd name="connsiteX8" fmla="*/ 513948 w 5331769"/>
                  <a:gd name="connsiteY8" fmla="*/ 4317787 h 5891405"/>
                  <a:gd name="connsiteX9" fmla="*/ 450153 w 5331769"/>
                  <a:gd name="connsiteY9" fmla="*/ 4977005 h 5891405"/>
                  <a:gd name="connsiteX10" fmla="*/ 1704795 w 5331769"/>
                  <a:gd name="connsiteY10" fmla="*/ 5039972 h 5891405"/>
                  <a:gd name="connsiteX11" fmla="*/ 1896181 w 5331769"/>
                  <a:gd name="connsiteY11" fmla="*/ 5891405 h 5891405"/>
                  <a:gd name="connsiteX12" fmla="*/ 4735074 w 5331769"/>
                  <a:gd name="connsiteY12" fmla="*/ 5859508 h 5891405"/>
                  <a:gd name="connsiteX13" fmla="*/ 4841400 w 5331769"/>
                  <a:gd name="connsiteY13" fmla="*/ 3520345 h 5891405"/>
                  <a:gd name="connsiteX14" fmla="*/ 2980702 w 5331769"/>
                  <a:gd name="connsiteY14" fmla="*/ 968 h 5891405"/>
                  <a:gd name="connsiteX0" fmla="*/ 2980491 w 5331558"/>
                  <a:gd name="connsiteY0" fmla="*/ 968 h 5891405"/>
                  <a:gd name="connsiteX1" fmla="*/ 726547 w 5331558"/>
                  <a:gd name="connsiteY1" fmla="*/ 1181117 h 5891405"/>
                  <a:gd name="connsiteX2" fmla="*/ 486068 w 5331558"/>
                  <a:gd name="connsiteY2" fmla="*/ 2371366 h 5891405"/>
                  <a:gd name="connsiteX3" fmla="*/ 4803 w 5331558"/>
                  <a:gd name="connsiteY3" fmla="*/ 3079808 h 5891405"/>
                  <a:gd name="connsiteX4" fmla="*/ 460575 w 5331558"/>
                  <a:gd name="connsiteY4" fmla="*/ 3328959 h 5891405"/>
                  <a:gd name="connsiteX5" fmla="*/ 289487 w 5331558"/>
                  <a:gd name="connsiteY5" fmla="*/ 3735758 h 5891405"/>
                  <a:gd name="connsiteX6" fmla="*/ 480873 w 5331558"/>
                  <a:gd name="connsiteY6" fmla="*/ 3871219 h 5891405"/>
                  <a:gd name="connsiteX7" fmla="*/ 322351 w 5331558"/>
                  <a:gd name="connsiteY7" fmla="*/ 4062605 h 5891405"/>
                  <a:gd name="connsiteX8" fmla="*/ 513737 w 5331558"/>
                  <a:gd name="connsiteY8" fmla="*/ 4317787 h 5891405"/>
                  <a:gd name="connsiteX9" fmla="*/ 449942 w 5331558"/>
                  <a:gd name="connsiteY9" fmla="*/ 4977005 h 5891405"/>
                  <a:gd name="connsiteX10" fmla="*/ 1704584 w 5331558"/>
                  <a:gd name="connsiteY10" fmla="*/ 5039972 h 5891405"/>
                  <a:gd name="connsiteX11" fmla="*/ 1895970 w 5331558"/>
                  <a:gd name="connsiteY11" fmla="*/ 5891405 h 5891405"/>
                  <a:gd name="connsiteX12" fmla="*/ 4734863 w 5331558"/>
                  <a:gd name="connsiteY12" fmla="*/ 5859508 h 5891405"/>
                  <a:gd name="connsiteX13" fmla="*/ 4841189 w 5331558"/>
                  <a:gd name="connsiteY13" fmla="*/ 3520345 h 5891405"/>
                  <a:gd name="connsiteX14" fmla="*/ 2980491 w 5331558"/>
                  <a:gd name="connsiteY14" fmla="*/ 968 h 58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31558" h="5891405">
                    <a:moveTo>
                      <a:pt x="2980491" y="968"/>
                    </a:moveTo>
                    <a:cubicBezTo>
                      <a:pt x="1784302" y="-22254"/>
                      <a:pt x="1040642" y="372305"/>
                      <a:pt x="726547" y="1181117"/>
                    </a:cubicBezTo>
                    <a:cubicBezTo>
                      <a:pt x="528785" y="1834793"/>
                      <a:pt x="744238" y="2066938"/>
                      <a:pt x="486068" y="2371366"/>
                    </a:cubicBezTo>
                    <a:cubicBezTo>
                      <a:pt x="239818" y="2677225"/>
                      <a:pt x="-40213" y="2911644"/>
                      <a:pt x="4803" y="3079808"/>
                    </a:cubicBezTo>
                    <a:cubicBezTo>
                      <a:pt x="109541" y="3181162"/>
                      <a:pt x="260766" y="3266498"/>
                      <a:pt x="460575" y="3328959"/>
                    </a:cubicBezTo>
                    <a:cubicBezTo>
                      <a:pt x="403546" y="3464559"/>
                      <a:pt x="198074" y="3641722"/>
                      <a:pt x="289487" y="3735758"/>
                    </a:cubicBezTo>
                    <a:lnTo>
                      <a:pt x="480873" y="3871219"/>
                    </a:lnTo>
                    <a:cubicBezTo>
                      <a:pt x="428032" y="3935014"/>
                      <a:pt x="303940" y="3939433"/>
                      <a:pt x="322351" y="4062605"/>
                    </a:cubicBezTo>
                    <a:cubicBezTo>
                      <a:pt x="362395" y="4195168"/>
                      <a:pt x="550882" y="4226788"/>
                      <a:pt x="513737" y="4317787"/>
                    </a:cubicBezTo>
                    <a:cubicBezTo>
                      <a:pt x="397470" y="4561276"/>
                      <a:pt x="358392" y="4876020"/>
                      <a:pt x="449942" y="4977005"/>
                    </a:cubicBezTo>
                    <a:cubicBezTo>
                      <a:pt x="636587" y="5158310"/>
                      <a:pt x="1197305" y="5208988"/>
                      <a:pt x="1704584" y="5039972"/>
                    </a:cubicBezTo>
                    <a:lnTo>
                      <a:pt x="1895970" y="5891405"/>
                    </a:lnTo>
                    <a:lnTo>
                      <a:pt x="4734863" y="5859508"/>
                    </a:lnTo>
                    <a:cubicBezTo>
                      <a:pt x="4366268" y="4516262"/>
                      <a:pt x="4422975" y="3927926"/>
                      <a:pt x="4841189" y="3520345"/>
                    </a:cubicBezTo>
                    <a:cubicBezTo>
                      <a:pt x="6117095" y="1964448"/>
                      <a:pt x="4692333" y="36409"/>
                      <a:pt x="2980491" y="96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8" name="Rounded Rectangle 51">
                <a:extLst>
                  <a:ext uri="{FF2B5EF4-FFF2-40B4-BE49-F238E27FC236}">
                    <a16:creationId xmlns:a16="http://schemas.microsoft.com/office/drawing/2014/main" id="{D4CF8954-139C-44BC-B2F9-BBC7B3240357}"/>
                  </a:ext>
                </a:extLst>
              </p:cNvPr>
              <p:cNvSpPr/>
              <p:nvPr/>
            </p:nvSpPr>
            <p:spPr>
              <a:xfrm rot="16200000" flipH="1">
                <a:off x="6673967" y="6041195"/>
                <a:ext cx="297470" cy="280146"/>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grpSp>
      <p:grpSp>
        <p:nvGrpSpPr>
          <p:cNvPr id="39" name="Group 38">
            <a:extLst>
              <a:ext uri="{FF2B5EF4-FFF2-40B4-BE49-F238E27FC236}">
                <a16:creationId xmlns:a16="http://schemas.microsoft.com/office/drawing/2014/main" id="{D1B7674C-E302-47A2-8C01-901F045C3206}"/>
              </a:ext>
            </a:extLst>
          </p:cNvPr>
          <p:cNvGrpSpPr/>
          <p:nvPr/>
        </p:nvGrpSpPr>
        <p:grpSpPr>
          <a:xfrm>
            <a:off x="9339449" y="1414732"/>
            <a:ext cx="1045512" cy="1081244"/>
            <a:chOff x="9271002" y="1405738"/>
            <a:chExt cx="1111236" cy="1111236"/>
          </a:xfrm>
        </p:grpSpPr>
        <p:sp>
          <p:nvSpPr>
            <p:cNvPr id="40" name="Oval 39">
              <a:extLst>
                <a:ext uri="{FF2B5EF4-FFF2-40B4-BE49-F238E27FC236}">
                  <a16:creationId xmlns:a16="http://schemas.microsoft.com/office/drawing/2014/main" id="{DF417DC5-5802-40E5-B73C-8A09076E633C}"/>
                </a:ext>
              </a:extLst>
            </p:cNvPr>
            <p:cNvSpPr/>
            <p:nvPr/>
          </p:nvSpPr>
          <p:spPr>
            <a:xfrm>
              <a:off x="9271002" y="1405738"/>
              <a:ext cx="1111236" cy="11112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600"/>
                </a:lnSpc>
              </a:pPr>
              <a:endParaRPr lang="en-US"/>
            </a:p>
          </p:txBody>
        </p:sp>
        <p:grpSp>
          <p:nvGrpSpPr>
            <p:cNvPr id="41" name="Group 40">
              <a:extLst>
                <a:ext uri="{FF2B5EF4-FFF2-40B4-BE49-F238E27FC236}">
                  <a16:creationId xmlns:a16="http://schemas.microsoft.com/office/drawing/2014/main" id="{2F77CB8C-4714-4B34-B32B-80B1EAD52CF2}"/>
                </a:ext>
              </a:extLst>
            </p:cNvPr>
            <p:cNvGrpSpPr/>
            <p:nvPr/>
          </p:nvGrpSpPr>
          <p:grpSpPr>
            <a:xfrm>
              <a:off x="9480540" y="1643132"/>
              <a:ext cx="692160" cy="636448"/>
              <a:chOff x="554760" y="3967269"/>
              <a:chExt cx="574746" cy="528483"/>
            </a:xfrm>
            <a:solidFill>
              <a:schemeClr val="accent1"/>
            </a:solidFill>
          </p:grpSpPr>
          <p:grpSp>
            <p:nvGrpSpPr>
              <p:cNvPr id="42" name="Group 41">
                <a:extLst>
                  <a:ext uri="{FF2B5EF4-FFF2-40B4-BE49-F238E27FC236}">
                    <a16:creationId xmlns:a16="http://schemas.microsoft.com/office/drawing/2014/main" id="{E5D060C4-D72C-49C6-87BF-209E876E3FF2}"/>
                  </a:ext>
                </a:extLst>
              </p:cNvPr>
              <p:cNvGrpSpPr/>
              <p:nvPr/>
            </p:nvGrpSpPr>
            <p:grpSpPr>
              <a:xfrm>
                <a:off x="554760" y="4224480"/>
                <a:ext cx="574746" cy="271272"/>
                <a:chOff x="1308344" y="1476193"/>
                <a:chExt cx="438585" cy="207006"/>
              </a:xfrm>
              <a:grpFill/>
            </p:grpSpPr>
            <p:sp>
              <p:nvSpPr>
                <p:cNvPr id="46" name="Freeform 12">
                  <a:extLst>
                    <a:ext uri="{FF2B5EF4-FFF2-40B4-BE49-F238E27FC236}">
                      <a16:creationId xmlns:a16="http://schemas.microsoft.com/office/drawing/2014/main" id="{A20E5753-C933-47B9-BD40-D94F4C3C5BB0}"/>
                    </a:ext>
                  </a:extLst>
                </p:cNvPr>
                <p:cNvSpPr>
                  <a:spLocks/>
                </p:cNvSpPr>
                <p:nvPr/>
              </p:nvSpPr>
              <p:spPr bwMode="auto">
                <a:xfrm>
                  <a:off x="1350044" y="1476193"/>
                  <a:ext cx="396885" cy="165307"/>
                </a:xfrm>
                <a:custGeom>
                  <a:avLst/>
                  <a:gdLst>
                    <a:gd name="T0" fmla="*/ 359 w 372"/>
                    <a:gd name="T1" fmla="*/ 43 h 155"/>
                    <a:gd name="T2" fmla="*/ 249 w 372"/>
                    <a:gd name="T3" fmla="*/ 125 h 155"/>
                    <a:gd name="T4" fmla="*/ 110 w 372"/>
                    <a:gd name="T5" fmla="*/ 125 h 155"/>
                    <a:gd name="T6" fmla="*/ 80 w 372"/>
                    <a:gd name="T7" fmla="*/ 155 h 155"/>
                    <a:gd name="T8" fmla="*/ 0 w 372"/>
                    <a:gd name="T9" fmla="*/ 74 h 155"/>
                    <a:gd name="T10" fmla="*/ 66 w 372"/>
                    <a:gd name="T11" fmla="*/ 8 h 155"/>
                    <a:gd name="T12" fmla="*/ 84 w 372"/>
                    <a:gd name="T13" fmla="*/ 0 h 155"/>
                    <a:gd name="T14" fmla="*/ 234 w 372"/>
                    <a:gd name="T15" fmla="*/ 0 h 155"/>
                    <a:gd name="T16" fmla="*/ 257 w 372"/>
                    <a:gd name="T17" fmla="*/ 24 h 155"/>
                    <a:gd name="T18" fmla="*/ 234 w 372"/>
                    <a:gd name="T19" fmla="*/ 47 h 155"/>
                    <a:gd name="T20" fmla="*/ 163 w 372"/>
                    <a:gd name="T21" fmla="*/ 47 h 155"/>
                    <a:gd name="T22" fmla="*/ 155 w 372"/>
                    <a:gd name="T23" fmla="*/ 55 h 155"/>
                    <a:gd name="T24" fmla="*/ 163 w 372"/>
                    <a:gd name="T25" fmla="*/ 63 h 155"/>
                    <a:gd name="T26" fmla="*/ 250 w 372"/>
                    <a:gd name="T27" fmla="*/ 63 h 155"/>
                    <a:gd name="T28" fmla="*/ 256 w 372"/>
                    <a:gd name="T29" fmla="*/ 60 h 155"/>
                    <a:gd name="T30" fmla="*/ 336 w 372"/>
                    <a:gd name="T31" fmla="*/ 7 h 155"/>
                    <a:gd name="T32" fmla="*/ 367 w 372"/>
                    <a:gd name="T33" fmla="*/ 14 h 155"/>
                    <a:gd name="T34" fmla="*/ 359 w 372"/>
                    <a:gd name="T35"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155">
                      <a:moveTo>
                        <a:pt x="359" y="43"/>
                      </a:moveTo>
                      <a:cubicBezTo>
                        <a:pt x="249" y="125"/>
                        <a:pt x="249" y="125"/>
                        <a:pt x="249" y="125"/>
                      </a:cubicBezTo>
                      <a:cubicBezTo>
                        <a:pt x="110" y="125"/>
                        <a:pt x="110" y="125"/>
                        <a:pt x="110" y="125"/>
                      </a:cubicBezTo>
                      <a:cubicBezTo>
                        <a:pt x="80" y="155"/>
                        <a:pt x="80" y="155"/>
                        <a:pt x="80" y="155"/>
                      </a:cubicBezTo>
                      <a:cubicBezTo>
                        <a:pt x="0" y="74"/>
                        <a:pt x="0" y="74"/>
                        <a:pt x="0" y="74"/>
                      </a:cubicBezTo>
                      <a:cubicBezTo>
                        <a:pt x="66" y="8"/>
                        <a:pt x="66" y="8"/>
                        <a:pt x="66" y="8"/>
                      </a:cubicBezTo>
                      <a:cubicBezTo>
                        <a:pt x="71" y="3"/>
                        <a:pt x="77" y="0"/>
                        <a:pt x="84" y="0"/>
                      </a:cubicBezTo>
                      <a:cubicBezTo>
                        <a:pt x="234" y="0"/>
                        <a:pt x="234" y="0"/>
                        <a:pt x="234" y="0"/>
                      </a:cubicBezTo>
                      <a:cubicBezTo>
                        <a:pt x="247" y="0"/>
                        <a:pt x="257" y="11"/>
                        <a:pt x="257" y="24"/>
                      </a:cubicBezTo>
                      <a:cubicBezTo>
                        <a:pt x="257" y="37"/>
                        <a:pt x="247" y="47"/>
                        <a:pt x="234" y="47"/>
                      </a:cubicBezTo>
                      <a:cubicBezTo>
                        <a:pt x="163" y="47"/>
                        <a:pt x="163" y="47"/>
                        <a:pt x="163" y="47"/>
                      </a:cubicBezTo>
                      <a:cubicBezTo>
                        <a:pt x="158" y="47"/>
                        <a:pt x="155" y="51"/>
                        <a:pt x="155" y="55"/>
                      </a:cubicBezTo>
                      <a:cubicBezTo>
                        <a:pt x="155" y="59"/>
                        <a:pt x="158" y="63"/>
                        <a:pt x="163" y="63"/>
                      </a:cubicBezTo>
                      <a:cubicBezTo>
                        <a:pt x="250" y="63"/>
                        <a:pt x="250" y="63"/>
                        <a:pt x="250" y="63"/>
                      </a:cubicBezTo>
                      <a:cubicBezTo>
                        <a:pt x="252" y="63"/>
                        <a:pt x="254" y="62"/>
                        <a:pt x="256" y="60"/>
                      </a:cubicBezTo>
                      <a:cubicBezTo>
                        <a:pt x="336" y="7"/>
                        <a:pt x="336" y="7"/>
                        <a:pt x="336" y="7"/>
                      </a:cubicBezTo>
                      <a:cubicBezTo>
                        <a:pt x="347" y="0"/>
                        <a:pt x="361" y="4"/>
                        <a:pt x="367" y="14"/>
                      </a:cubicBezTo>
                      <a:cubicBezTo>
                        <a:pt x="372" y="24"/>
                        <a:pt x="369" y="38"/>
                        <a:pt x="359" y="43"/>
                      </a:cubicBezTo>
                      <a:close/>
                    </a:path>
                  </a:pathLst>
                </a:custGeom>
                <a:grpFill/>
                <a:ln>
                  <a:noFill/>
                </a:ln>
              </p:spPr>
              <p:txBody>
                <a:bodyPr vert="horz" wrap="square" lIns="93297" tIns="46649" rIns="93297" bIns="46649" numCol="1" anchor="t" anchorCtr="0" compatLnSpc="1">
                  <a:prstTxWarp prst="textNoShape">
                    <a:avLst/>
                  </a:prstTxWarp>
                </a:bodyPr>
                <a:lstStyle/>
                <a:p>
                  <a:endParaRPr lang="de-DE" sz="1837"/>
                </a:p>
              </p:txBody>
            </p:sp>
            <p:sp>
              <p:nvSpPr>
                <p:cNvPr id="47" name="Freeform 13">
                  <a:extLst>
                    <a:ext uri="{FF2B5EF4-FFF2-40B4-BE49-F238E27FC236}">
                      <a16:creationId xmlns:a16="http://schemas.microsoft.com/office/drawing/2014/main" id="{BFCFC55B-12B1-4853-AAFD-A4A94378BA47}"/>
                    </a:ext>
                  </a:extLst>
                </p:cNvPr>
                <p:cNvSpPr>
                  <a:spLocks/>
                </p:cNvSpPr>
                <p:nvPr/>
              </p:nvSpPr>
              <p:spPr bwMode="auto">
                <a:xfrm>
                  <a:off x="1308344" y="1555123"/>
                  <a:ext cx="128076" cy="128076"/>
                </a:xfrm>
                <a:custGeom>
                  <a:avLst/>
                  <a:gdLst>
                    <a:gd name="T0" fmla="*/ 172 w 172"/>
                    <a:gd name="T1" fmla="*/ 143 h 172"/>
                    <a:gd name="T2" fmla="*/ 29 w 172"/>
                    <a:gd name="T3" fmla="*/ 0 h 172"/>
                    <a:gd name="T4" fmla="*/ 0 w 172"/>
                    <a:gd name="T5" fmla="*/ 27 h 172"/>
                    <a:gd name="T6" fmla="*/ 143 w 172"/>
                    <a:gd name="T7" fmla="*/ 172 h 172"/>
                    <a:gd name="T8" fmla="*/ 172 w 172"/>
                    <a:gd name="T9" fmla="*/ 143 h 172"/>
                  </a:gdLst>
                  <a:ahLst/>
                  <a:cxnLst>
                    <a:cxn ang="0">
                      <a:pos x="T0" y="T1"/>
                    </a:cxn>
                    <a:cxn ang="0">
                      <a:pos x="T2" y="T3"/>
                    </a:cxn>
                    <a:cxn ang="0">
                      <a:pos x="T4" y="T5"/>
                    </a:cxn>
                    <a:cxn ang="0">
                      <a:pos x="T6" y="T7"/>
                    </a:cxn>
                    <a:cxn ang="0">
                      <a:pos x="T8" y="T9"/>
                    </a:cxn>
                  </a:cxnLst>
                  <a:rect l="0" t="0" r="r" b="b"/>
                  <a:pathLst>
                    <a:path w="172" h="172">
                      <a:moveTo>
                        <a:pt x="172" y="143"/>
                      </a:moveTo>
                      <a:lnTo>
                        <a:pt x="29" y="0"/>
                      </a:lnTo>
                      <a:lnTo>
                        <a:pt x="0" y="27"/>
                      </a:lnTo>
                      <a:lnTo>
                        <a:pt x="143" y="172"/>
                      </a:lnTo>
                      <a:lnTo>
                        <a:pt x="172" y="143"/>
                      </a:lnTo>
                      <a:close/>
                    </a:path>
                  </a:pathLst>
                </a:custGeom>
                <a:grpFill/>
                <a:ln>
                  <a:noFill/>
                </a:ln>
              </p:spPr>
              <p:txBody>
                <a:bodyPr vert="horz" wrap="square" lIns="93297" tIns="46649" rIns="93297" bIns="46649" numCol="1" anchor="t" anchorCtr="0" compatLnSpc="1">
                  <a:prstTxWarp prst="textNoShape">
                    <a:avLst/>
                  </a:prstTxWarp>
                </a:bodyPr>
                <a:lstStyle/>
                <a:p>
                  <a:endParaRPr lang="de-DE" sz="1837"/>
                </a:p>
              </p:txBody>
            </p:sp>
          </p:grpSp>
          <p:grpSp>
            <p:nvGrpSpPr>
              <p:cNvPr id="43" name="Group 42">
                <a:extLst>
                  <a:ext uri="{FF2B5EF4-FFF2-40B4-BE49-F238E27FC236}">
                    <a16:creationId xmlns:a16="http://schemas.microsoft.com/office/drawing/2014/main" id="{1BB84545-1ACC-4E10-B04F-78B0B63B126C}"/>
                  </a:ext>
                </a:extLst>
              </p:cNvPr>
              <p:cNvGrpSpPr>
                <a:grpSpLocks noChangeAspect="1"/>
              </p:cNvGrpSpPr>
              <p:nvPr/>
            </p:nvGrpSpPr>
            <p:grpSpPr>
              <a:xfrm>
                <a:off x="720932" y="3967269"/>
                <a:ext cx="226112" cy="226906"/>
                <a:chOff x="8316119" y="2606598"/>
                <a:chExt cx="381941" cy="383281"/>
              </a:xfrm>
              <a:grpFill/>
            </p:grpSpPr>
            <p:sp>
              <p:nvSpPr>
                <p:cNvPr id="44" name="Freeform 91">
                  <a:extLst>
                    <a:ext uri="{FF2B5EF4-FFF2-40B4-BE49-F238E27FC236}">
                      <a16:creationId xmlns:a16="http://schemas.microsoft.com/office/drawing/2014/main" id="{E8247F09-7D3F-4495-8459-CCCCC5AC3D91}"/>
                    </a:ext>
                  </a:extLst>
                </p:cNvPr>
                <p:cNvSpPr>
                  <a:spLocks/>
                </p:cNvSpPr>
                <p:nvPr/>
              </p:nvSpPr>
              <p:spPr bwMode="auto">
                <a:xfrm>
                  <a:off x="8316119" y="2630720"/>
                  <a:ext cx="359159" cy="359159"/>
                </a:xfrm>
                <a:custGeom>
                  <a:avLst/>
                  <a:gdLst>
                    <a:gd name="T0" fmla="*/ 292 w 322"/>
                    <a:gd name="T1" fmla="*/ 143 h 322"/>
                    <a:gd name="T2" fmla="*/ 294 w 322"/>
                    <a:gd name="T3" fmla="*/ 161 h 322"/>
                    <a:gd name="T4" fmla="*/ 163 w 322"/>
                    <a:gd name="T5" fmla="*/ 291 h 322"/>
                    <a:gd name="T6" fmla="*/ 33 w 322"/>
                    <a:gd name="T7" fmla="*/ 161 h 322"/>
                    <a:gd name="T8" fmla="*/ 163 w 322"/>
                    <a:gd name="T9" fmla="*/ 31 h 322"/>
                    <a:gd name="T10" fmla="*/ 223 w 322"/>
                    <a:gd name="T11" fmla="*/ 45 h 322"/>
                    <a:gd name="T12" fmla="*/ 244 w 322"/>
                    <a:gd name="T13" fmla="*/ 23 h 322"/>
                    <a:gd name="T14" fmla="*/ 161 w 322"/>
                    <a:gd name="T15" fmla="*/ 0 h 322"/>
                    <a:gd name="T16" fmla="*/ 0 w 322"/>
                    <a:gd name="T17" fmla="*/ 161 h 322"/>
                    <a:gd name="T18" fmla="*/ 161 w 322"/>
                    <a:gd name="T19" fmla="*/ 322 h 322"/>
                    <a:gd name="T20" fmla="*/ 322 w 322"/>
                    <a:gd name="T21" fmla="*/ 161 h 322"/>
                    <a:gd name="T22" fmla="*/ 313 w 322"/>
                    <a:gd name="T23" fmla="*/ 107 h 322"/>
                    <a:gd name="T24" fmla="*/ 292 w 322"/>
                    <a:gd name="T25" fmla="*/ 14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2" h="322">
                      <a:moveTo>
                        <a:pt x="292" y="143"/>
                      </a:moveTo>
                      <a:cubicBezTo>
                        <a:pt x="293" y="149"/>
                        <a:pt x="294" y="155"/>
                        <a:pt x="294" y="161"/>
                      </a:cubicBezTo>
                      <a:cubicBezTo>
                        <a:pt x="294" y="233"/>
                        <a:pt x="235" y="291"/>
                        <a:pt x="163" y="291"/>
                      </a:cubicBezTo>
                      <a:cubicBezTo>
                        <a:pt x="91" y="291"/>
                        <a:pt x="33" y="233"/>
                        <a:pt x="33" y="161"/>
                      </a:cubicBezTo>
                      <a:cubicBezTo>
                        <a:pt x="33" y="89"/>
                        <a:pt x="91" y="31"/>
                        <a:pt x="163" y="31"/>
                      </a:cubicBezTo>
                      <a:cubicBezTo>
                        <a:pt x="185" y="31"/>
                        <a:pt x="205" y="36"/>
                        <a:pt x="223" y="45"/>
                      </a:cubicBezTo>
                      <a:cubicBezTo>
                        <a:pt x="244" y="23"/>
                        <a:pt x="244" y="23"/>
                        <a:pt x="244" y="23"/>
                      </a:cubicBezTo>
                      <a:cubicBezTo>
                        <a:pt x="220" y="8"/>
                        <a:pt x="191" y="0"/>
                        <a:pt x="161" y="0"/>
                      </a:cubicBezTo>
                      <a:cubicBezTo>
                        <a:pt x="72" y="0"/>
                        <a:pt x="0" y="72"/>
                        <a:pt x="0" y="161"/>
                      </a:cubicBezTo>
                      <a:cubicBezTo>
                        <a:pt x="0" y="250"/>
                        <a:pt x="72" y="322"/>
                        <a:pt x="161" y="322"/>
                      </a:cubicBezTo>
                      <a:cubicBezTo>
                        <a:pt x="250" y="322"/>
                        <a:pt x="322" y="250"/>
                        <a:pt x="322" y="161"/>
                      </a:cubicBezTo>
                      <a:cubicBezTo>
                        <a:pt x="322" y="142"/>
                        <a:pt x="319" y="124"/>
                        <a:pt x="313" y="107"/>
                      </a:cubicBezTo>
                      <a:lnTo>
                        <a:pt x="292"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algn="ctr"/>
                  <a:endParaRPr lang="en-US" sz="1837"/>
                </a:p>
              </p:txBody>
            </p:sp>
            <p:sp>
              <p:nvSpPr>
                <p:cNvPr id="45" name="Freeform 92">
                  <a:extLst>
                    <a:ext uri="{FF2B5EF4-FFF2-40B4-BE49-F238E27FC236}">
                      <a16:creationId xmlns:a16="http://schemas.microsoft.com/office/drawing/2014/main" id="{039541C7-1B23-40DD-8068-AB0F889C216A}"/>
                    </a:ext>
                  </a:extLst>
                </p:cNvPr>
                <p:cNvSpPr>
                  <a:spLocks/>
                </p:cNvSpPr>
                <p:nvPr/>
              </p:nvSpPr>
              <p:spPr bwMode="auto">
                <a:xfrm>
                  <a:off x="8379106" y="2606598"/>
                  <a:ext cx="318954" cy="321635"/>
                </a:xfrm>
                <a:custGeom>
                  <a:avLst/>
                  <a:gdLst>
                    <a:gd name="T0" fmla="*/ 8 w 286"/>
                    <a:gd name="T1" fmla="*/ 139 h 288"/>
                    <a:gd name="T2" fmla="*/ 5 w 286"/>
                    <a:gd name="T3" fmla="*/ 165 h 288"/>
                    <a:gd name="T4" fmla="*/ 71 w 286"/>
                    <a:gd name="T5" fmla="*/ 272 h 288"/>
                    <a:gd name="T6" fmla="*/ 96 w 286"/>
                    <a:gd name="T7" fmla="*/ 287 h 288"/>
                    <a:gd name="T8" fmla="*/ 115 w 286"/>
                    <a:gd name="T9" fmla="*/ 288 h 288"/>
                    <a:gd name="T10" fmla="*/ 140 w 286"/>
                    <a:gd name="T11" fmla="*/ 274 h 288"/>
                    <a:gd name="T12" fmla="*/ 282 w 286"/>
                    <a:gd name="T13" fmla="*/ 24 h 288"/>
                    <a:gd name="T14" fmla="*/ 282 w 286"/>
                    <a:gd name="T15" fmla="*/ 3 h 288"/>
                    <a:gd name="T16" fmla="*/ 262 w 286"/>
                    <a:gd name="T17" fmla="*/ 9 h 288"/>
                    <a:gd name="T18" fmla="*/ 114 w 286"/>
                    <a:gd name="T19" fmla="*/ 169 h 288"/>
                    <a:gd name="T20" fmla="*/ 90 w 286"/>
                    <a:gd name="T21" fmla="*/ 171 h 288"/>
                    <a:gd name="T22" fmla="*/ 38 w 286"/>
                    <a:gd name="T23" fmla="*/ 133 h 288"/>
                    <a:gd name="T24" fmla="*/ 13 w 286"/>
                    <a:gd name="T25" fmla="*/ 135 h 288"/>
                    <a:gd name="T26" fmla="*/ 8 w 286"/>
                    <a:gd name="T27" fmla="*/ 13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288">
                      <a:moveTo>
                        <a:pt x="8" y="139"/>
                      </a:moveTo>
                      <a:cubicBezTo>
                        <a:pt x="1" y="146"/>
                        <a:pt x="0" y="157"/>
                        <a:pt x="5" y="165"/>
                      </a:cubicBezTo>
                      <a:cubicBezTo>
                        <a:pt x="71" y="272"/>
                        <a:pt x="71" y="272"/>
                        <a:pt x="71" y="272"/>
                      </a:cubicBezTo>
                      <a:cubicBezTo>
                        <a:pt x="76" y="280"/>
                        <a:pt x="87" y="287"/>
                        <a:pt x="96" y="287"/>
                      </a:cubicBezTo>
                      <a:cubicBezTo>
                        <a:pt x="115" y="288"/>
                        <a:pt x="115" y="288"/>
                        <a:pt x="115" y="288"/>
                      </a:cubicBezTo>
                      <a:cubicBezTo>
                        <a:pt x="124" y="288"/>
                        <a:pt x="135" y="282"/>
                        <a:pt x="140" y="274"/>
                      </a:cubicBezTo>
                      <a:cubicBezTo>
                        <a:pt x="282" y="24"/>
                        <a:pt x="282" y="24"/>
                        <a:pt x="282" y="24"/>
                      </a:cubicBezTo>
                      <a:cubicBezTo>
                        <a:pt x="286" y="17"/>
                        <a:pt x="286" y="7"/>
                        <a:pt x="282" y="3"/>
                      </a:cubicBezTo>
                      <a:cubicBezTo>
                        <a:pt x="277" y="0"/>
                        <a:pt x="268" y="2"/>
                        <a:pt x="262" y="9"/>
                      </a:cubicBezTo>
                      <a:cubicBezTo>
                        <a:pt x="114" y="169"/>
                        <a:pt x="114" y="169"/>
                        <a:pt x="114" y="169"/>
                      </a:cubicBezTo>
                      <a:cubicBezTo>
                        <a:pt x="108" y="176"/>
                        <a:pt x="97" y="177"/>
                        <a:pt x="90" y="171"/>
                      </a:cubicBezTo>
                      <a:cubicBezTo>
                        <a:pt x="38" y="133"/>
                        <a:pt x="38" y="133"/>
                        <a:pt x="38" y="133"/>
                      </a:cubicBezTo>
                      <a:cubicBezTo>
                        <a:pt x="31" y="128"/>
                        <a:pt x="19" y="128"/>
                        <a:pt x="13" y="135"/>
                      </a:cubicBezTo>
                      <a:lnTo>
                        <a:pt x="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algn="ctr"/>
                  <a:endParaRPr lang="en-US" sz="1837"/>
                </a:p>
              </p:txBody>
            </p:sp>
          </p:grpSp>
        </p:grpSp>
      </p:grpSp>
      <p:sp>
        <p:nvSpPr>
          <p:cNvPr id="5" name="TextBox 4">
            <a:extLst>
              <a:ext uri="{FF2B5EF4-FFF2-40B4-BE49-F238E27FC236}">
                <a16:creationId xmlns:a16="http://schemas.microsoft.com/office/drawing/2014/main" id="{D5C0B30D-1B5D-1E4D-A5BD-37B8956C9022}"/>
              </a:ext>
            </a:extLst>
          </p:cNvPr>
          <p:cNvSpPr txBox="1"/>
          <p:nvPr/>
        </p:nvSpPr>
        <p:spPr>
          <a:xfrm>
            <a:off x="785274" y="2796988"/>
            <a:ext cx="3195526" cy="632012"/>
          </a:xfrm>
          <a:prstGeom prst="rect">
            <a:avLst/>
          </a:prstGeom>
          <a:noFill/>
        </p:spPr>
        <p:txBody>
          <a:bodyPr wrap="square" lIns="0" rIns="0" rtlCol="0" anchor="ctr">
            <a:noAutofit/>
          </a:bodyPr>
          <a:lstStyle/>
          <a:p>
            <a:pPr algn="ctr" defTabSz="457200">
              <a:spcBef>
                <a:spcPts val="1200"/>
              </a:spcBef>
            </a:pPr>
            <a:r>
              <a:rPr lang="en-US" b="1" dirty="0">
                <a:solidFill>
                  <a:schemeClr val="accent3"/>
                </a:solidFill>
              </a:rPr>
              <a:t>Data Engineering and Data Ops </a:t>
            </a:r>
          </a:p>
        </p:txBody>
      </p:sp>
      <p:sp>
        <p:nvSpPr>
          <p:cNvPr id="48" name="TextBox 47">
            <a:extLst>
              <a:ext uri="{FF2B5EF4-FFF2-40B4-BE49-F238E27FC236}">
                <a16:creationId xmlns:a16="http://schemas.microsoft.com/office/drawing/2014/main" id="{7B9DADEF-D6F9-A345-AE7F-94238BB52284}"/>
              </a:ext>
            </a:extLst>
          </p:cNvPr>
          <p:cNvSpPr txBox="1"/>
          <p:nvPr/>
        </p:nvSpPr>
        <p:spPr>
          <a:xfrm>
            <a:off x="4512305" y="2796988"/>
            <a:ext cx="3195526" cy="632012"/>
          </a:xfrm>
          <a:prstGeom prst="rect">
            <a:avLst/>
          </a:prstGeom>
          <a:noFill/>
        </p:spPr>
        <p:txBody>
          <a:bodyPr wrap="square" lIns="0" rIns="0" rtlCol="0" anchor="ctr">
            <a:noAutofit/>
          </a:bodyPr>
          <a:lstStyle/>
          <a:p>
            <a:pPr algn="ctr" defTabSz="457200">
              <a:spcBef>
                <a:spcPts val="1200"/>
              </a:spcBef>
            </a:pPr>
            <a:r>
              <a:rPr lang="en-US" b="1" dirty="0">
                <a:solidFill>
                  <a:schemeClr val="accent3"/>
                </a:solidFill>
              </a:rPr>
              <a:t>Quant and Modeling</a:t>
            </a:r>
          </a:p>
        </p:txBody>
      </p:sp>
      <p:sp>
        <p:nvSpPr>
          <p:cNvPr id="49" name="TextBox 48">
            <a:extLst>
              <a:ext uri="{FF2B5EF4-FFF2-40B4-BE49-F238E27FC236}">
                <a16:creationId xmlns:a16="http://schemas.microsoft.com/office/drawing/2014/main" id="{46D2EFFB-BA4A-0141-8368-E9FFF8ACF98B}"/>
              </a:ext>
            </a:extLst>
          </p:cNvPr>
          <p:cNvSpPr txBox="1"/>
          <p:nvPr/>
        </p:nvSpPr>
        <p:spPr>
          <a:xfrm>
            <a:off x="8239336" y="2796988"/>
            <a:ext cx="3195526" cy="632012"/>
          </a:xfrm>
          <a:prstGeom prst="rect">
            <a:avLst/>
          </a:prstGeom>
          <a:noFill/>
        </p:spPr>
        <p:txBody>
          <a:bodyPr wrap="square" lIns="0" rIns="0" rtlCol="0" anchor="ctr">
            <a:noAutofit/>
          </a:bodyPr>
          <a:lstStyle/>
          <a:p>
            <a:pPr algn="ctr" defTabSz="457200">
              <a:spcBef>
                <a:spcPts val="1200"/>
              </a:spcBef>
            </a:pPr>
            <a:r>
              <a:rPr lang="en-US" b="1" dirty="0">
                <a:solidFill>
                  <a:schemeClr val="accent3"/>
                </a:solidFill>
              </a:rPr>
              <a:t>Applications and Automation</a:t>
            </a:r>
          </a:p>
        </p:txBody>
      </p:sp>
    </p:spTree>
    <p:extLst>
      <p:ext uri="{BB962C8B-B14F-4D97-AF65-F5344CB8AC3E}">
        <p14:creationId xmlns:p14="http://schemas.microsoft.com/office/powerpoint/2010/main" val="2436401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BD1F2-E425-4240-83D3-00C4B675EB8E}"/>
              </a:ext>
            </a:extLst>
          </p:cNvPr>
          <p:cNvSpPr>
            <a:spLocks noGrp="1"/>
          </p:cNvSpPr>
          <p:nvPr>
            <p:ph type="title"/>
          </p:nvPr>
        </p:nvSpPr>
        <p:spPr>
          <a:xfrm>
            <a:off x="609600" y="1"/>
            <a:ext cx="10475167" cy="874394"/>
          </a:xfrm>
        </p:spPr>
        <p:txBody>
          <a:bodyPr/>
          <a:lstStyle/>
          <a:p>
            <a:r>
              <a:rPr lang="en-US" dirty="0">
                <a:solidFill>
                  <a:srgbClr val="D70038"/>
                </a:solidFill>
              </a:rPr>
              <a:t>We work with marque clients across financial services and other industries</a:t>
            </a:r>
          </a:p>
        </p:txBody>
      </p:sp>
      <p:sp>
        <p:nvSpPr>
          <p:cNvPr id="3" name="Slide Number Placeholder 2">
            <a:extLst>
              <a:ext uri="{FF2B5EF4-FFF2-40B4-BE49-F238E27FC236}">
                <a16:creationId xmlns:a16="http://schemas.microsoft.com/office/drawing/2014/main" id="{4E5AA077-5A94-9F44-878A-C598D7F0ED8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B05D85-7E10-5D4F-A75C-A55D283254FB}" type="slidenum">
              <a:rPr kumimoji="0" lang="en-US" sz="1100" b="1" i="0" u="none" strike="noStrike" kern="1200" cap="none" spc="0" normalizeH="0" baseline="0" noProof="0" smtClean="0">
                <a:ln>
                  <a:noFill/>
                </a:ln>
                <a:solidFill>
                  <a:srgbClr val="727272"/>
                </a:solidFill>
                <a:effectLst/>
                <a:uLnTx/>
                <a:uFillTx/>
                <a:latin typeface="Helvetica Neue"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100" b="1" i="0" u="none" strike="noStrike" kern="1200" cap="none" spc="0" normalizeH="0" baseline="0" noProof="0" dirty="0">
              <a:ln>
                <a:noFill/>
              </a:ln>
              <a:solidFill>
                <a:srgbClr val="727272"/>
              </a:solidFill>
              <a:effectLst/>
              <a:uLnTx/>
              <a:uFillTx/>
              <a:latin typeface="Helvetica Neue" pitchFamily="2" charset="0"/>
              <a:ea typeface="+mn-ea"/>
              <a:cs typeface="+mn-cs"/>
            </a:endParaRPr>
          </a:p>
        </p:txBody>
      </p:sp>
      <p:grpSp>
        <p:nvGrpSpPr>
          <p:cNvPr id="31" name="Group 30">
            <a:extLst>
              <a:ext uri="{FF2B5EF4-FFF2-40B4-BE49-F238E27FC236}">
                <a16:creationId xmlns:a16="http://schemas.microsoft.com/office/drawing/2014/main" id="{89F343B5-1FDD-4A1F-B2C8-EC6ECFFFFCA3}"/>
              </a:ext>
            </a:extLst>
          </p:cNvPr>
          <p:cNvGrpSpPr/>
          <p:nvPr/>
        </p:nvGrpSpPr>
        <p:grpSpPr>
          <a:xfrm>
            <a:off x="589645" y="1049235"/>
            <a:ext cx="10700396" cy="4879232"/>
            <a:chOff x="589645" y="1049235"/>
            <a:chExt cx="10925200" cy="4879232"/>
          </a:xfrm>
        </p:grpSpPr>
        <p:sp>
          <p:nvSpPr>
            <p:cNvPr id="56" name="Rectangle 55">
              <a:extLst>
                <a:ext uri="{FF2B5EF4-FFF2-40B4-BE49-F238E27FC236}">
                  <a16:creationId xmlns:a16="http://schemas.microsoft.com/office/drawing/2014/main" id="{25ABB4E1-ED65-D641-B494-7CE8E5043508}"/>
                </a:ext>
              </a:extLst>
            </p:cNvPr>
            <p:cNvSpPr/>
            <p:nvPr/>
          </p:nvSpPr>
          <p:spPr>
            <a:xfrm>
              <a:off x="7334045" y="1440415"/>
              <a:ext cx="4180800" cy="4488051"/>
            </a:xfrm>
            <a:prstGeom prst="rect">
              <a:avLst/>
            </a:prstGeom>
            <a:solidFill>
              <a:srgbClr val="FFFFFF"/>
            </a:solidFill>
            <a:ln w="28575">
              <a:solidFill>
                <a:schemeClr val="accent1"/>
              </a:solidFill>
            </a:ln>
          </p:spPr>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8F9789C4-1480-F14B-A23B-E841183E0BD3}"/>
                </a:ext>
              </a:extLst>
            </p:cNvPr>
            <p:cNvSpPr/>
            <p:nvPr/>
          </p:nvSpPr>
          <p:spPr>
            <a:xfrm>
              <a:off x="1504548" y="1445184"/>
              <a:ext cx="5749823" cy="676580"/>
            </a:xfrm>
            <a:prstGeom prst="rect">
              <a:avLst/>
            </a:prstGeom>
            <a:solidFill>
              <a:srgbClr val="FFFFFF"/>
            </a:solidFill>
            <a:ln w="28575">
              <a:solidFill>
                <a:schemeClr val="accent1"/>
              </a:solidFill>
            </a:ln>
          </p:spPr>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7FBFE729-BB13-4441-8C15-2968D5CE4EB6}"/>
                </a:ext>
              </a:extLst>
            </p:cNvPr>
            <p:cNvSpPr/>
            <p:nvPr/>
          </p:nvSpPr>
          <p:spPr>
            <a:xfrm>
              <a:off x="1504548" y="2222052"/>
              <a:ext cx="5749823" cy="2279132"/>
            </a:xfrm>
            <a:prstGeom prst="rect">
              <a:avLst/>
            </a:prstGeom>
            <a:solidFill>
              <a:srgbClr val="FFFFFF"/>
            </a:solidFill>
            <a:ln w="28575">
              <a:solidFill>
                <a:schemeClr val="accent1"/>
              </a:solidFill>
            </a:ln>
          </p:spPr>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02470A63-975E-AC4D-845F-86F0CA57FC90}"/>
                </a:ext>
              </a:extLst>
            </p:cNvPr>
            <p:cNvSpPr/>
            <p:nvPr/>
          </p:nvSpPr>
          <p:spPr>
            <a:xfrm>
              <a:off x="1504548" y="4601472"/>
              <a:ext cx="5749823" cy="1326995"/>
            </a:xfrm>
            <a:prstGeom prst="rect">
              <a:avLst/>
            </a:prstGeom>
            <a:solidFill>
              <a:srgbClr val="FFFFFF"/>
            </a:solidFill>
            <a:ln w="28575">
              <a:solidFill>
                <a:schemeClr val="accent1"/>
              </a:solidFill>
            </a:ln>
          </p:spPr>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D0880446-322A-F446-AE7D-3AE4AC4D15DC}"/>
                </a:ext>
              </a:extLst>
            </p:cNvPr>
            <p:cNvSpPr/>
            <p:nvPr/>
          </p:nvSpPr>
          <p:spPr>
            <a:xfrm>
              <a:off x="600393" y="1445184"/>
              <a:ext cx="855344" cy="676580"/>
            </a:xfrm>
            <a:prstGeom prst="rect">
              <a:avLst/>
            </a:prstGeom>
            <a:solidFill>
              <a:srgbClr val="25336F"/>
            </a:solid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F8F8F8"/>
                  </a:solidFill>
                  <a:effectLst/>
                  <a:uLnTx/>
                  <a:uFillTx/>
                  <a:latin typeface="Arial" panose="020B0604020202020204"/>
                  <a:ea typeface="+mn-ea"/>
                  <a:cs typeface="+mn-cs"/>
                </a:rPr>
                <a:t>Banks</a:t>
              </a:r>
            </a:p>
          </p:txBody>
        </p:sp>
        <p:pic>
          <p:nvPicPr>
            <p:cNvPr id="6" name="Picture 3">
              <a:extLst>
                <a:ext uri="{FF2B5EF4-FFF2-40B4-BE49-F238E27FC236}">
                  <a16:creationId xmlns:a16="http://schemas.microsoft.com/office/drawing/2014/main" id="{D64707B1-249D-2749-B071-0324EFAF243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29276" y="1538050"/>
              <a:ext cx="1290228" cy="490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6653F292-0491-0949-9CA8-0D2761B4042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730079" y="1596460"/>
              <a:ext cx="1170143" cy="374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a:extLst>
                <a:ext uri="{FF2B5EF4-FFF2-40B4-BE49-F238E27FC236}">
                  <a16:creationId xmlns:a16="http://schemas.microsoft.com/office/drawing/2014/main" id="{7472B254-5692-7E4D-8C55-3B60DDE3121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128849" y="1559834"/>
              <a:ext cx="1111523" cy="447280"/>
            </a:xfrm>
            <a:prstGeom prst="rect">
              <a:avLst/>
            </a:prstGeom>
          </p:spPr>
        </p:pic>
        <p:pic>
          <p:nvPicPr>
            <p:cNvPr id="9" name="Picture 4" descr="Image result for fino logo">
              <a:extLst>
                <a:ext uri="{FF2B5EF4-FFF2-40B4-BE49-F238E27FC236}">
                  <a16:creationId xmlns:a16="http://schemas.microsoft.com/office/drawing/2014/main" id="{55324EA8-EC80-3047-A709-4C0E78A146D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093967" y="1559834"/>
              <a:ext cx="843962" cy="44727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6B35567-3ACE-0048-8B91-A39434097AE6}"/>
                </a:ext>
              </a:extLst>
            </p:cNvPr>
            <p:cNvSpPr/>
            <p:nvPr/>
          </p:nvSpPr>
          <p:spPr>
            <a:xfrm>
              <a:off x="600392" y="2222052"/>
              <a:ext cx="855344" cy="2279132"/>
            </a:xfrm>
            <a:prstGeom prst="rect">
              <a:avLst/>
            </a:prstGeom>
            <a:solidFill>
              <a:srgbClr val="25336F"/>
            </a:solid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F8F8F8"/>
                  </a:solidFill>
                  <a:effectLst/>
                  <a:uLnTx/>
                  <a:uFillTx/>
                  <a:latin typeface="Arial" panose="020B0604020202020204"/>
                  <a:ea typeface="+mn-ea"/>
                  <a:cs typeface="+mn-cs"/>
                </a:rPr>
                <a:t>NBFC &amp; Other FIs</a:t>
              </a:r>
            </a:p>
          </p:txBody>
        </p:sp>
        <p:sp>
          <p:nvSpPr>
            <p:cNvPr id="11" name="Rectangle 10">
              <a:extLst>
                <a:ext uri="{FF2B5EF4-FFF2-40B4-BE49-F238E27FC236}">
                  <a16:creationId xmlns:a16="http://schemas.microsoft.com/office/drawing/2014/main" id="{EB5251DC-9964-0641-BAED-7E89300C88A4}"/>
                </a:ext>
              </a:extLst>
            </p:cNvPr>
            <p:cNvSpPr/>
            <p:nvPr/>
          </p:nvSpPr>
          <p:spPr>
            <a:xfrm>
              <a:off x="589645" y="4601472"/>
              <a:ext cx="855344" cy="1326995"/>
            </a:xfrm>
            <a:prstGeom prst="rect">
              <a:avLst/>
            </a:prstGeom>
            <a:solidFill>
              <a:srgbClr val="25336F"/>
            </a:solid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err="1">
                  <a:ln>
                    <a:noFill/>
                  </a:ln>
                  <a:solidFill>
                    <a:srgbClr val="F8F8F8"/>
                  </a:solidFill>
                  <a:effectLst/>
                  <a:uLnTx/>
                  <a:uFillTx/>
                  <a:latin typeface="Arial" panose="020B0604020202020204"/>
                  <a:ea typeface="+mn-ea"/>
                  <a:cs typeface="+mn-cs"/>
                </a:rPr>
                <a:t>Fintechs</a:t>
              </a:r>
              <a:endParaRPr kumimoji="0" lang="en-US" sz="1200" b="1" i="0" u="none" strike="noStrike" kern="1200" cap="none" spc="0" normalizeH="0" baseline="0" noProof="0" dirty="0">
                <a:ln>
                  <a:noFill/>
                </a:ln>
                <a:solidFill>
                  <a:srgbClr val="F8F8F8"/>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646815C0-86A7-B948-BAF7-8E7A0B1FD03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777494" y="2395926"/>
              <a:ext cx="554829" cy="490847"/>
            </a:xfrm>
            <a:prstGeom prst="rect">
              <a:avLst/>
            </a:prstGeom>
          </p:spPr>
        </p:pic>
        <p:pic>
          <p:nvPicPr>
            <p:cNvPr id="13" name="Picture 12">
              <a:extLst>
                <a:ext uri="{FF2B5EF4-FFF2-40B4-BE49-F238E27FC236}">
                  <a16:creationId xmlns:a16="http://schemas.microsoft.com/office/drawing/2014/main" id="{C69033A9-812E-EB4A-A324-4A7ED2934A2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619275" y="3873347"/>
              <a:ext cx="827295" cy="441879"/>
            </a:xfrm>
            <a:prstGeom prst="rect">
              <a:avLst/>
            </a:prstGeom>
          </p:spPr>
        </p:pic>
        <p:pic>
          <p:nvPicPr>
            <p:cNvPr id="14" name="Picture 4" descr="Image result for capital first limited">
              <a:extLst>
                <a:ext uri="{FF2B5EF4-FFF2-40B4-BE49-F238E27FC236}">
                  <a16:creationId xmlns:a16="http://schemas.microsoft.com/office/drawing/2014/main" id="{20DDB2BE-1E85-754F-BE51-347896206D1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69300" y="2342132"/>
              <a:ext cx="799499" cy="4908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4622192-9371-1C43-8524-35AD6A9A326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640018" y="3907413"/>
              <a:ext cx="968938" cy="420920"/>
            </a:xfrm>
            <a:prstGeom prst="rect">
              <a:avLst/>
            </a:prstGeom>
          </p:spPr>
        </p:pic>
        <p:pic>
          <p:nvPicPr>
            <p:cNvPr id="16" name="Picture 7">
              <a:extLst>
                <a:ext uri="{FF2B5EF4-FFF2-40B4-BE49-F238E27FC236}">
                  <a16:creationId xmlns:a16="http://schemas.microsoft.com/office/drawing/2014/main" id="{4B2EBCDA-96D9-C64B-ADBD-CF10FC9DA57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606846" y="3260360"/>
              <a:ext cx="1762781" cy="264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6">
              <a:extLst>
                <a:ext uri="{FF2B5EF4-FFF2-40B4-BE49-F238E27FC236}">
                  <a16:creationId xmlns:a16="http://schemas.microsoft.com/office/drawing/2014/main" id="{CF8A87A1-A663-BE4A-B8A8-40C73C0F05D7}"/>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488099" y="3837486"/>
              <a:ext cx="932729" cy="490847"/>
            </a:xfrm>
            <a:prstGeom prst="rect">
              <a:avLst/>
            </a:prstGeom>
          </p:spPr>
        </p:pic>
        <p:pic>
          <p:nvPicPr>
            <p:cNvPr id="18" name="Picture 9">
              <a:extLst>
                <a:ext uri="{FF2B5EF4-FFF2-40B4-BE49-F238E27FC236}">
                  <a16:creationId xmlns:a16="http://schemas.microsoft.com/office/drawing/2014/main" id="{E5F74C54-FFF1-C64A-9775-9AB4AD3AEA5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3421470" y="2389231"/>
              <a:ext cx="993482" cy="5399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descr="Image result for pnbhfl logo">
              <a:extLst>
                <a:ext uri="{FF2B5EF4-FFF2-40B4-BE49-F238E27FC236}">
                  <a16:creationId xmlns:a16="http://schemas.microsoft.com/office/drawing/2014/main" id="{12644BF7-15F6-9343-BADC-4DFE10BE67A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t="28548" b="27730"/>
            <a:stretch/>
          </p:blipFill>
          <p:spPr bwMode="auto">
            <a:xfrm>
              <a:off x="4748854" y="2385589"/>
              <a:ext cx="1501193" cy="5115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Image result for godrej housing finance logo">
              <a:extLst>
                <a:ext uri="{FF2B5EF4-FFF2-40B4-BE49-F238E27FC236}">
                  <a16:creationId xmlns:a16="http://schemas.microsoft.com/office/drawing/2014/main" id="{C5F12E81-EAC1-5B4F-8EE3-9D8BF1A1602B}"/>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622640" y="3087311"/>
              <a:ext cx="1927394" cy="63836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Image result for bajaj finserv">
              <a:extLst>
                <a:ext uri="{FF2B5EF4-FFF2-40B4-BE49-F238E27FC236}">
                  <a16:creationId xmlns:a16="http://schemas.microsoft.com/office/drawing/2014/main" id="{D293BC4D-0F60-C143-9443-1839C57E04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1617585" y="2454337"/>
              <a:ext cx="968938" cy="3740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Image result for ola financial services">
              <a:extLst>
                <a:ext uri="{FF2B5EF4-FFF2-40B4-BE49-F238E27FC236}">
                  <a16:creationId xmlns:a16="http://schemas.microsoft.com/office/drawing/2014/main" id="{AC06DCDA-50B0-9143-8898-05937839BA74}"/>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615388" y="5396296"/>
              <a:ext cx="1028299" cy="39213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37BF5528-ED4F-A44A-B742-F6F7642E4353}"/>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011611" y="5306144"/>
              <a:ext cx="926318" cy="490847"/>
            </a:xfrm>
            <a:prstGeom prst="rect">
              <a:avLst/>
            </a:prstGeom>
            <a:noFill/>
            <a:ln>
              <a:noFill/>
            </a:ln>
          </p:spPr>
        </p:pic>
        <p:pic>
          <p:nvPicPr>
            <p:cNvPr id="24" name="Picture 8">
              <a:extLst>
                <a:ext uri="{FF2B5EF4-FFF2-40B4-BE49-F238E27FC236}">
                  <a16:creationId xmlns:a16="http://schemas.microsoft.com/office/drawing/2014/main" id="{DFB1C8B6-23AF-7F44-BE1B-E917F817B4B8}"/>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6122768" y="4716322"/>
              <a:ext cx="704004" cy="5399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 descr="Image result for krazybee">
              <a:extLst>
                <a:ext uri="{FF2B5EF4-FFF2-40B4-BE49-F238E27FC236}">
                  <a16:creationId xmlns:a16="http://schemas.microsoft.com/office/drawing/2014/main" id="{8D170749-48C7-2F49-A75A-F55692FB33CD}"/>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369627" y="5257931"/>
              <a:ext cx="540290" cy="58727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4" descr="Image result for iquippo">
              <a:extLst>
                <a:ext uri="{FF2B5EF4-FFF2-40B4-BE49-F238E27FC236}">
                  <a16:creationId xmlns:a16="http://schemas.microsoft.com/office/drawing/2014/main" id="{1010C08E-9124-1B4F-9B9A-1AC3CECBF8C5}"/>
                </a:ext>
              </a:extLst>
            </p:cNvPr>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l="11600" t="27867" r="9467" b="30000"/>
            <a:stretch/>
          </p:blipFill>
          <p:spPr bwMode="auto">
            <a:xfrm>
              <a:off x="4694039" y="5350327"/>
              <a:ext cx="693695" cy="4024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rohan Financial Services Limited | LinkedIn">
              <a:extLst>
                <a:ext uri="{FF2B5EF4-FFF2-40B4-BE49-F238E27FC236}">
                  <a16:creationId xmlns:a16="http://schemas.microsoft.com/office/drawing/2014/main" id="{98B36D14-DD39-8C41-B5D4-68A767320EF7}"/>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991338" y="3895296"/>
              <a:ext cx="1194807" cy="49084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8905AD2B-0B0A-B740-BE73-86420860ABEE}"/>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4449889" y="4659160"/>
              <a:ext cx="1140848" cy="633480"/>
            </a:xfrm>
            <a:prstGeom prst="rect">
              <a:avLst/>
            </a:prstGeom>
          </p:spPr>
        </p:pic>
        <p:pic>
          <p:nvPicPr>
            <p:cNvPr id="29" name="Picture 2" descr="Image result for navi logo">
              <a:extLst>
                <a:ext uri="{FF2B5EF4-FFF2-40B4-BE49-F238E27FC236}">
                  <a16:creationId xmlns:a16="http://schemas.microsoft.com/office/drawing/2014/main" id="{9E6429B3-9680-474E-82D6-6A29AE93E20C}"/>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808198" y="4639906"/>
              <a:ext cx="567042" cy="61635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6A35E9F0-F083-CA43-BF0B-1FC6EE0F8803}"/>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901241" y="4728662"/>
              <a:ext cx="1477062" cy="438837"/>
            </a:xfrm>
            <a:prstGeom prst="rect">
              <a:avLst/>
            </a:prstGeom>
          </p:spPr>
        </p:pic>
        <p:pic>
          <p:nvPicPr>
            <p:cNvPr id="7170" name="Picture 2" descr="Image result for spicemoney logo">
              <a:extLst>
                <a:ext uri="{FF2B5EF4-FFF2-40B4-BE49-F238E27FC236}">
                  <a16:creationId xmlns:a16="http://schemas.microsoft.com/office/drawing/2014/main" id="{A9036217-1D48-D747-8442-B4BD4A3D3E4B}"/>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4389129" y="3864531"/>
              <a:ext cx="539934" cy="53993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Image result for hfdc lifee">
              <a:extLst>
                <a:ext uri="{FF2B5EF4-FFF2-40B4-BE49-F238E27FC236}">
                  <a16:creationId xmlns:a16="http://schemas.microsoft.com/office/drawing/2014/main" id="{482CFD8E-3F7F-2F45-A96B-B2A7DB801E36}"/>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l="14143" t="35686" r="10701" b="31008"/>
            <a:stretch/>
          </p:blipFill>
          <p:spPr bwMode="auto">
            <a:xfrm>
              <a:off x="5892030" y="3184010"/>
              <a:ext cx="1023052" cy="358551"/>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Image result for dhani logo">
              <a:extLst>
                <a:ext uri="{FF2B5EF4-FFF2-40B4-BE49-F238E27FC236}">
                  <a16:creationId xmlns:a16="http://schemas.microsoft.com/office/drawing/2014/main" id="{D4A0986C-4E79-3541-8418-3002B8E38CC6}"/>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l="8240" t="19542" r="7785" b="12647"/>
            <a:stretch/>
          </p:blipFill>
          <p:spPr bwMode="auto">
            <a:xfrm>
              <a:off x="5067966" y="3944978"/>
              <a:ext cx="907832" cy="35855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http://www.gtlyfe.com/img/gtlyfe_yellow_full.png">
              <a:extLst>
                <a:ext uri="{FF2B5EF4-FFF2-40B4-BE49-F238E27FC236}">
                  <a16:creationId xmlns:a16="http://schemas.microsoft.com/office/drawing/2014/main" id="{02BE9B14-3B34-9C46-AC7A-6846F279671F}"/>
                </a:ext>
              </a:extLst>
            </p:cNvPr>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8993022" y="3525636"/>
              <a:ext cx="969872" cy="40998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51423D5B-2368-E249-BE47-09AC40E1774B}"/>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9912804" y="5292640"/>
              <a:ext cx="1510457" cy="397572"/>
            </a:xfrm>
            <a:prstGeom prst="rect">
              <a:avLst/>
            </a:prstGeom>
            <a:solidFill>
              <a:schemeClr val="tx1"/>
            </a:solidFill>
          </p:spPr>
        </p:pic>
        <p:pic>
          <p:nvPicPr>
            <p:cNvPr id="39" name="Picture 10" descr="Image result for healthcare perspectives group">
              <a:extLst>
                <a:ext uri="{FF2B5EF4-FFF2-40B4-BE49-F238E27FC236}">
                  <a16:creationId xmlns:a16="http://schemas.microsoft.com/office/drawing/2014/main" id="{5C7A8DB7-394F-1A48-BC92-46276590A46A}"/>
                </a:ext>
              </a:extLst>
            </p:cNvPr>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7551988" y="5455575"/>
              <a:ext cx="2077962" cy="29205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ttps://encrypted-tbn2.gstatic.com/images?q=tbn:ANd9GcRnkXJdwl4cm0aLOAMbrb2BCZuf9NIScAafES-JTVHAsyDr9dNLlNs9uAql">
              <a:extLst>
                <a:ext uri="{FF2B5EF4-FFF2-40B4-BE49-F238E27FC236}">
                  <a16:creationId xmlns:a16="http://schemas.microsoft.com/office/drawing/2014/main" id="{BA1B17C0-D9E5-BD4B-86B6-EE14B300F7D3}"/>
                </a:ext>
              </a:extLst>
            </p:cNvPr>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9095638" y="2449881"/>
              <a:ext cx="867256" cy="24039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012F8E6B-C37A-DB4F-BC1E-3577DEDA7995}"/>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9075722" y="2953275"/>
              <a:ext cx="697446" cy="420139"/>
            </a:xfrm>
            <a:prstGeom prst="rect">
              <a:avLst/>
            </a:prstGeom>
          </p:spPr>
        </p:pic>
        <p:pic>
          <p:nvPicPr>
            <p:cNvPr id="43" name="Picture 42">
              <a:extLst>
                <a:ext uri="{FF2B5EF4-FFF2-40B4-BE49-F238E27FC236}">
                  <a16:creationId xmlns:a16="http://schemas.microsoft.com/office/drawing/2014/main" id="{4515726C-0309-F948-A1E4-27D48812EEFE}"/>
                </a:ext>
              </a:extLst>
            </p:cNvPr>
            <p:cNvPicPr>
              <a:picLocks noChangeAspect="1"/>
            </p:cNvPicPr>
            <p:nvPr/>
          </p:nvPicPr>
          <p:blipFill rotWithShape="1">
            <a:blip r:embed="rId33" cstate="email">
              <a:extLst>
                <a:ext uri="{28A0092B-C50C-407E-A947-70E740481C1C}">
                  <a14:useLocalDpi xmlns:a14="http://schemas.microsoft.com/office/drawing/2010/main"/>
                </a:ext>
              </a:extLst>
            </a:blip>
            <a:srcRect/>
            <a:stretch/>
          </p:blipFill>
          <p:spPr>
            <a:xfrm>
              <a:off x="7680629" y="2342132"/>
              <a:ext cx="993451" cy="456276"/>
            </a:xfrm>
            <a:prstGeom prst="rect">
              <a:avLst/>
            </a:prstGeom>
            <a:noFill/>
          </p:spPr>
        </p:pic>
        <p:pic>
          <p:nvPicPr>
            <p:cNvPr id="44" name="Picture 43">
              <a:extLst>
                <a:ext uri="{FF2B5EF4-FFF2-40B4-BE49-F238E27FC236}">
                  <a16:creationId xmlns:a16="http://schemas.microsoft.com/office/drawing/2014/main" id="{8A781573-73F1-A845-B4E3-CE25114DF104}"/>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8876930" y="1732330"/>
              <a:ext cx="1304672" cy="451485"/>
            </a:xfrm>
            <a:prstGeom prst="rect">
              <a:avLst/>
            </a:prstGeom>
          </p:spPr>
        </p:pic>
        <p:pic>
          <p:nvPicPr>
            <p:cNvPr id="45" name="Picture 2" descr="https://encrypted-tbn0.gstatic.com/images?q=tbn:ANd9GcQV-ZiAbVN7-AuiKPA32lWhNZvuLwzA6ZrKHsuv8vFHfiYXVk75cYS0yzR-">
              <a:extLst>
                <a:ext uri="{FF2B5EF4-FFF2-40B4-BE49-F238E27FC236}">
                  <a16:creationId xmlns:a16="http://schemas.microsoft.com/office/drawing/2014/main" id="{2F184E14-8E56-224C-98B0-7C3E68AEC6CA}"/>
                </a:ext>
              </a:extLst>
            </p:cNvPr>
            <p:cNvPicPr>
              <a:picLocks noChangeAspect="1" noChangeArrowheads="1"/>
            </p:cNvPicPr>
            <p:nvPr/>
          </p:nvPicPr>
          <p:blipFill rotWithShape="1">
            <a:blip r:embed="rId35" cstate="email">
              <a:extLst>
                <a:ext uri="{28A0092B-C50C-407E-A947-70E740481C1C}">
                  <a14:useLocalDpi xmlns:a14="http://schemas.microsoft.com/office/drawing/2010/main"/>
                </a:ext>
              </a:extLst>
            </a:blip>
            <a:srcRect/>
            <a:stretch/>
          </p:blipFill>
          <p:spPr bwMode="auto">
            <a:xfrm>
              <a:off x="7443981" y="2942882"/>
              <a:ext cx="1187224" cy="40062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28414AB6-64CA-F64C-8BEB-6665AD4EB56D}"/>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7585396" y="1716323"/>
              <a:ext cx="784987" cy="482793"/>
            </a:xfrm>
            <a:prstGeom prst="rect">
              <a:avLst/>
            </a:prstGeom>
          </p:spPr>
        </p:pic>
        <p:pic>
          <p:nvPicPr>
            <p:cNvPr id="47" name="Picture 2" descr="Image result for sanofi logo">
              <a:extLst>
                <a:ext uri="{FF2B5EF4-FFF2-40B4-BE49-F238E27FC236}">
                  <a16:creationId xmlns:a16="http://schemas.microsoft.com/office/drawing/2014/main" id="{D6A87889-E4BC-B143-A60B-C47AB03B3C59}"/>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7798925" y="3486086"/>
              <a:ext cx="617960" cy="46908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2114D484-7F36-2343-86B0-E13206707525}"/>
                </a:ext>
              </a:extLst>
            </p:cNvPr>
            <p:cNvPicPr>
              <a:picLocks noChangeAspect="1"/>
            </p:cNvPicPr>
            <p:nvPr/>
          </p:nvPicPr>
          <p:blipFill rotWithShape="1">
            <a:blip r:embed="rId38" cstate="email">
              <a:extLst>
                <a:ext uri="{28A0092B-C50C-407E-A947-70E740481C1C}">
                  <a14:useLocalDpi xmlns:a14="http://schemas.microsoft.com/office/drawing/2010/main"/>
                </a:ext>
              </a:extLst>
            </a:blip>
            <a:srcRect/>
            <a:stretch/>
          </p:blipFill>
          <p:spPr>
            <a:xfrm>
              <a:off x="10245334" y="2397688"/>
              <a:ext cx="1195819" cy="351126"/>
            </a:xfrm>
            <a:prstGeom prst="rect">
              <a:avLst/>
            </a:prstGeom>
          </p:spPr>
        </p:pic>
        <p:pic>
          <p:nvPicPr>
            <p:cNvPr id="49" name="Picture 48">
              <a:extLst>
                <a:ext uri="{FF2B5EF4-FFF2-40B4-BE49-F238E27FC236}">
                  <a16:creationId xmlns:a16="http://schemas.microsoft.com/office/drawing/2014/main" id="{CF9EF056-E879-A543-9F86-A056A2219033}"/>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7593196" y="4266968"/>
              <a:ext cx="1320752" cy="448646"/>
            </a:xfrm>
            <a:prstGeom prst="rect">
              <a:avLst/>
            </a:prstGeom>
          </p:spPr>
        </p:pic>
        <p:pic>
          <p:nvPicPr>
            <p:cNvPr id="50" name="Picture 4" descr="Digital Intent | LinkedIn">
              <a:extLst>
                <a:ext uri="{FF2B5EF4-FFF2-40B4-BE49-F238E27FC236}">
                  <a16:creationId xmlns:a16="http://schemas.microsoft.com/office/drawing/2014/main" id="{190F36E5-079F-E046-8519-EE42CC92250B}"/>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9198939" y="4038073"/>
              <a:ext cx="778317" cy="73291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Image result for sun pharma logo">
              <a:extLst>
                <a:ext uri="{FF2B5EF4-FFF2-40B4-BE49-F238E27FC236}">
                  <a16:creationId xmlns:a16="http://schemas.microsoft.com/office/drawing/2014/main" id="{124974ED-2633-1B46-80F8-8AEB9DCC1615}"/>
                </a:ext>
              </a:extLst>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10607363" y="1651061"/>
              <a:ext cx="803147" cy="65680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8" descr="Image result for godrej agrovetlogo">
              <a:extLst>
                <a:ext uri="{FF2B5EF4-FFF2-40B4-BE49-F238E27FC236}">
                  <a16:creationId xmlns:a16="http://schemas.microsoft.com/office/drawing/2014/main" id="{BF096E5C-5030-DC45-896D-6BE8B6877C49}"/>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10098628" y="2998391"/>
              <a:ext cx="1324633" cy="3132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dr reddy logo">
              <a:extLst>
                <a:ext uri="{FF2B5EF4-FFF2-40B4-BE49-F238E27FC236}">
                  <a16:creationId xmlns:a16="http://schemas.microsoft.com/office/drawing/2014/main" id="{BB2A8BEF-C091-504E-9785-A5A97804BFD0}"/>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10512711" y="4006462"/>
              <a:ext cx="778316" cy="778316"/>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Image result for otsuka logo">
              <a:extLst>
                <a:ext uri="{FF2B5EF4-FFF2-40B4-BE49-F238E27FC236}">
                  <a16:creationId xmlns:a16="http://schemas.microsoft.com/office/drawing/2014/main" id="{2AECB119-CBBC-334B-AFCB-91CDB7D5A7B6}"/>
                </a:ext>
              </a:extLst>
            </p:cNvPr>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8189144" y="4904379"/>
              <a:ext cx="969872" cy="370363"/>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Image result for gnc logo">
              <a:extLst>
                <a:ext uri="{FF2B5EF4-FFF2-40B4-BE49-F238E27FC236}">
                  <a16:creationId xmlns:a16="http://schemas.microsoft.com/office/drawing/2014/main" id="{4F982101-8B6D-3F4D-A675-88B14CEDD7C3}"/>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l="22039" t="29197" r="19060" b="31843"/>
            <a:stretch/>
          </p:blipFill>
          <p:spPr bwMode="auto">
            <a:xfrm>
              <a:off x="10341302" y="3488806"/>
              <a:ext cx="1069208" cy="434561"/>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Top Corners Rounded 46">
              <a:extLst>
                <a:ext uri="{FF2B5EF4-FFF2-40B4-BE49-F238E27FC236}">
                  <a16:creationId xmlns:a16="http://schemas.microsoft.com/office/drawing/2014/main" id="{1F02661D-5B71-3C41-A47E-9E7D88855E45}"/>
                </a:ext>
              </a:extLst>
            </p:cNvPr>
            <p:cNvSpPr/>
            <p:nvPr/>
          </p:nvSpPr>
          <p:spPr>
            <a:xfrm>
              <a:off x="609600" y="1049235"/>
              <a:ext cx="6644770" cy="342797"/>
            </a:xfrm>
            <a:prstGeom prst="round2SameRect">
              <a:avLst/>
            </a:prstGeom>
            <a:solidFill>
              <a:srgbClr val="D7003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8F8F8"/>
                  </a:solidFill>
                  <a:effectLst/>
                  <a:uLnTx/>
                  <a:uFillTx/>
                  <a:latin typeface="Arial" panose="020B0604020202020204"/>
                  <a:ea typeface="+mn-ea"/>
                  <a:cs typeface="+mn-cs"/>
                </a:rPr>
                <a:t>Financial Services Clients (non-exhaustive)</a:t>
              </a:r>
            </a:p>
          </p:txBody>
        </p:sp>
        <p:sp>
          <p:nvSpPr>
            <p:cNvPr id="59" name="Rectangle: Top Corners Rounded 46">
              <a:extLst>
                <a:ext uri="{FF2B5EF4-FFF2-40B4-BE49-F238E27FC236}">
                  <a16:creationId xmlns:a16="http://schemas.microsoft.com/office/drawing/2014/main" id="{7E7ADA70-FE8D-A44A-864E-EA2D79DF9C4F}"/>
                </a:ext>
              </a:extLst>
            </p:cNvPr>
            <p:cNvSpPr/>
            <p:nvPr/>
          </p:nvSpPr>
          <p:spPr>
            <a:xfrm>
              <a:off x="7334046" y="1049235"/>
              <a:ext cx="4180798" cy="342797"/>
            </a:xfrm>
            <a:prstGeom prst="round2SameRect">
              <a:avLst/>
            </a:prstGeom>
            <a:solidFill>
              <a:srgbClr val="D7003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8F8F8"/>
                  </a:solidFill>
                  <a:effectLst/>
                  <a:uLnTx/>
                  <a:uFillTx/>
                  <a:latin typeface="Arial" panose="020B0604020202020204"/>
                  <a:ea typeface="+mn-ea"/>
                  <a:cs typeface="+mn-cs"/>
                </a:rPr>
                <a:t>Other Clients (non-exhaustive)</a:t>
              </a:r>
            </a:p>
          </p:txBody>
        </p:sp>
      </p:grpSp>
    </p:spTree>
    <p:extLst>
      <p:ext uri="{BB962C8B-B14F-4D97-AF65-F5344CB8AC3E}">
        <p14:creationId xmlns:p14="http://schemas.microsoft.com/office/powerpoint/2010/main" val="793378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3"/>
        <p:cNvGrpSpPr/>
        <p:nvPr/>
      </p:nvGrpSpPr>
      <p:grpSpPr>
        <a:xfrm>
          <a:off x="0" y="0"/>
          <a:ext cx="0" cy="0"/>
          <a:chOff x="0" y="0"/>
          <a:chExt cx="0" cy="0"/>
        </a:xfrm>
      </p:grpSpPr>
      <p:sp>
        <p:nvSpPr>
          <p:cNvPr id="744" name="Google Shape;744;p34"/>
          <p:cNvSpPr txBox="1">
            <a:spLocks noGrp="1"/>
          </p:cNvSpPr>
          <p:nvPr>
            <p:ph type="title"/>
          </p:nvPr>
        </p:nvSpPr>
        <p:spPr>
          <a:xfrm>
            <a:off x="609600" y="93129"/>
            <a:ext cx="10998200" cy="461665"/>
          </a:xfrm>
          <a:noFill/>
          <a:ln>
            <a:noFill/>
          </a:ln>
        </p:spPr>
        <p:txBody>
          <a:bodyPr spcFirstLastPara="1" wrap="square" lIns="0" tIns="91425" rIns="0" bIns="45700" anchor="ctr" anchorCtr="0">
            <a:noAutofit/>
          </a:bodyPr>
          <a:lstStyle/>
          <a:p>
            <a:pPr lvl="0"/>
            <a:r>
              <a:rPr lang="en-US" dirty="0">
                <a:solidFill>
                  <a:srgbClr val="D70038"/>
                </a:solidFill>
                <a:sym typeface="Arial"/>
              </a:rPr>
              <a:t>Our leadership team is made</a:t>
            </a:r>
            <a:r>
              <a:rPr lang="en-US" dirty="0">
                <a:solidFill>
                  <a:srgbClr val="D70038"/>
                </a:solidFill>
              </a:rPr>
              <a:t> of industry veterans</a:t>
            </a:r>
          </a:p>
        </p:txBody>
      </p:sp>
      <p:sp>
        <p:nvSpPr>
          <p:cNvPr id="745" name="Google Shape;745;p34"/>
          <p:cNvSpPr txBox="1">
            <a:spLocks noGrp="1"/>
          </p:cNvSpPr>
          <p:nvPr>
            <p:ph type="sldNum" idx="12"/>
          </p:nvPr>
        </p:nvSpPr>
        <p:spPr>
          <a:xfrm>
            <a:off x="10660200" y="6352439"/>
            <a:ext cx="947600" cy="223229"/>
          </a:xfrm>
          <a:noFill/>
          <a:ln>
            <a:noFill/>
          </a:ln>
        </p:spPr>
        <p:txBody>
          <a:bodyPr spcFirstLastPara="1" wrap="square" lIns="91425" tIns="45700" rIns="0" bIns="45700" anchor="ctr" anchorCtr="0">
            <a:noAutofit/>
          </a:bodyPr>
          <a:lstStyle/>
          <a:p>
            <a:pPr lvl="0"/>
            <a:fld id="{00000000-1234-1234-1234-123412341234}" type="slidenum">
              <a:rPr lang="en-US">
                <a:sym typeface="Arial"/>
              </a:rPr>
              <a:pPr lvl="0"/>
              <a:t>7</a:t>
            </a:fld>
            <a:endParaRPr lang="en-US">
              <a:sym typeface="Arial"/>
            </a:endParaRPr>
          </a:p>
        </p:txBody>
      </p:sp>
      <p:grpSp>
        <p:nvGrpSpPr>
          <p:cNvPr id="6" name="Group 5">
            <a:extLst>
              <a:ext uri="{FF2B5EF4-FFF2-40B4-BE49-F238E27FC236}">
                <a16:creationId xmlns:a16="http://schemas.microsoft.com/office/drawing/2014/main" id="{0D23F81B-C8F8-4211-8AAA-77390C23F180}"/>
              </a:ext>
            </a:extLst>
          </p:cNvPr>
          <p:cNvGrpSpPr/>
          <p:nvPr/>
        </p:nvGrpSpPr>
        <p:grpSpPr>
          <a:xfrm>
            <a:off x="597509" y="950566"/>
            <a:ext cx="10900892" cy="4992865"/>
            <a:chOff x="597509" y="950566"/>
            <a:chExt cx="10900892" cy="4992865"/>
          </a:xfrm>
        </p:grpSpPr>
        <p:grpSp>
          <p:nvGrpSpPr>
            <p:cNvPr id="746" name="Google Shape;746;p34"/>
            <p:cNvGrpSpPr/>
            <p:nvPr/>
          </p:nvGrpSpPr>
          <p:grpSpPr>
            <a:xfrm>
              <a:off x="7932241" y="950566"/>
              <a:ext cx="3566160" cy="1475992"/>
              <a:chOff x="8050275" y="1206204"/>
              <a:chExt cx="3566160" cy="1475992"/>
            </a:xfrm>
          </p:grpSpPr>
          <p:sp>
            <p:nvSpPr>
              <p:cNvPr id="747" name="Google Shape;747;p34"/>
              <p:cNvSpPr/>
              <p:nvPr/>
            </p:nvSpPr>
            <p:spPr>
              <a:xfrm>
                <a:off x="8050275" y="1206204"/>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pic>
            <p:nvPicPr>
              <p:cNvPr id="748" name="Google Shape;748;p34" descr="Profile photo of Monish Salot"/>
              <p:cNvPicPr preferRelativeResize="0"/>
              <p:nvPr/>
            </p:nvPicPr>
            <p:blipFill rotWithShape="1">
              <a:blip r:embed="rId3">
                <a:alphaModFix/>
                <a:extLst>
                  <a:ext uri="{BEBA8EAE-BF5A-486C-A8C5-ECC9F3942E4B}">
                    <a14:imgProps xmlns:a14="http://schemas.microsoft.com/office/drawing/2010/main">
                      <a14:imgLayer r:embed="rId4">
                        <a14:imgEffect>
                          <a14:saturation sat="0"/>
                        </a14:imgEffect>
                      </a14:imgLayer>
                    </a14:imgProps>
                  </a:ext>
                </a:extLst>
              </a:blip>
              <a:srcRect/>
              <a:stretch/>
            </p:blipFill>
            <p:spPr>
              <a:xfrm>
                <a:off x="8149665" y="1305594"/>
                <a:ext cx="731520" cy="731520"/>
              </a:xfrm>
              <a:prstGeom prst="ellipse">
                <a:avLst/>
              </a:prstGeom>
              <a:solidFill>
                <a:schemeClr val="lt2"/>
              </a:solidFill>
              <a:ln w="12700" cap="flat" cmpd="sng">
                <a:solidFill>
                  <a:srgbClr val="D70038"/>
                </a:solidFill>
                <a:prstDash val="solid"/>
                <a:miter lim="400000"/>
                <a:headEnd type="none" w="sm" len="sm"/>
                <a:tailEnd type="none" w="sm" len="sm"/>
              </a:ln>
              <a:effectLst>
                <a:outerShdw blurRad="50800" dist="38100" dir="2700000" algn="tl" rotWithShape="0">
                  <a:srgbClr val="000000">
                    <a:alpha val="40000"/>
                  </a:srgbClr>
                </a:outerShdw>
              </a:effectLst>
            </p:spPr>
          </p:pic>
          <p:sp>
            <p:nvSpPr>
              <p:cNvPr id="749" name="Google Shape;749;p34"/>
              <p:cNvSpPr/>
              <p:nvPr/>
            </p:nvSpPr>
            <p:spPr>
              <a:xfrm>
                <a:off x="8067873" y="2177247"/>
                <a:ext cx="2058703"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a:solidFill>
                      <a:srgbClr val="D70038"/>
                    </a:solidFill>
                    <a:latin typeface="Arial"/>
                    <a:ea typeface="Arial"/>
                    <a:cs typeface="Arial"/>
                    <a:sym typeface="Arial"/>
                  </a:rPr>
                  <a:t>Monish </a:t>
                </a:r>
                <a:r>
                  <a:rPr lang="en-US" sz="1200" b="1" i="0" u="none" strike="noStrike" cap="none" dirty="0" err="1">
                    <a:solidFill>
                      <a:srgbClr val="D70038"/>
                    </a:solidFill>
                    <a:latin typeface="Arial"/>
                    <a:ea typeface="Arial"/>
                    <a:cs typeface="Arial"/>
                    <a:sym typeface="Arial"/>
                  </a:rPr>
                  <a:t>Salot</a:t>
                </a:r>
                <a:endParaRPr sz="1200" b="1" i="0" u="none" strike="noStrike" cap="none" dirty="0">
                  <a:solidFill>
                    <a:srgbClr val="D70038"/>
                  </a:solidFill>
                  <a:latin typeface="Arial"/>
                  <a:ea typeface="Arial"/>
                  <a:cs typeface="Arial"/>
                  <a:sym typeface="Arial"/>
                </a:endParaRPr>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Chief Product Officer</a:t>
                </a:r>
                <a:endParaRPr dirty="0"/>
              </a:p>
            </p:txBody>
          </p:sp>
          <p:sp>
            <p:nvSpPr>
              <p:cNvPr id="750" name="Google Shape;750;p34"/>
              <p:cNvSpPr/>
              <p:nvPr/>
            </p:nvSpPr>
            <p:spPr>
              <a:xfrm>
                <a:off x="9421875" y="1206204"/>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11+ years </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3i Infotech, L&amp;T Infotech, Weight Watcher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Hofstra Univ, KJ Somaiya (CS)</a:t>
                </a:r>
                <a:endParaRPr sz="1200" dirty="0"/>
              </a:p>
            </p:txBody>
          </p:sp>
        </p:grpSp>
        <p:grpSp>
          <p:nvGrpSpPr>
            <p:cNvPr id="751" name="Google Shape;751;p34"/>
            <p:cNvGrpSpPr/>
            <p:nvPr/>
          </p:nvGrpSpPr>
          <p:grpSpPr>
            <a:xfrm>
              <a:off x="4250774" y="2709002"/>
              <a:ext cx="3566160" cy="1475992"/>
              <a:chOff x="604742" y="2859894"/>
              <a:chExt cx="3566160" cy="1475992"/>
            </a:xfrm>
          </p:grpSpPr>
          <p:sp>
            <p:nvSpPr>
              <p:cNvPr id="752" name="Google Shape;752;p34"/>
              <p:cNvSpPr/>
              <p:nvPr/>
            </p:nvSpPr>
            <p:spPr>
              <a:xfrm>
                <a:off x="604742" y="2859894"/>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pic>
            <p:nvPicPr>
              <p:cNvPr id="753" name="Google Shape;753;p34" descr="Profile photo of Sarin Suares"/>
              <p:cNvPicPr preferRelativeResize="0"/>
              <p:nvPr/>
            </p:nvPicPr>
            <p:blipFill rotWithShape="1">
              <a:blip r:embed="rId5">
                <a:alphaModFix/>
              </a:blip>
              <a:srcRect/>
              <a:stretch/>
            </p:blipFill>
            <p:spPr>
              <a:xfrm>
                <a:off x="704132" y="2959284"/>
                <a:ext cx="731520" cy="731520"/>
              </a:xfrm>
              <a:prstGeom prst="ellipse">
                <a:avLst/>
              </a:prstGeom>
              <a:solidFill>
                <a:schemeClr val="lt2"/>
              </a:solidFill>
              <a:ln w="12700" cap="flat" cmpd="sng">
                <a:solidFill>
                  <a:srgbClr val="D70038"/>
                </a:solidFill>
                <a:prstDash val="solid"/>
                <a:miter lim="400000"/>
                <a:headEnd type="none" w="sm" len="sm"/>
                <a:tailEnd type="none" w="sm" len="sm"/>
              </a:ln>
              <a:effectLst>
                <a:outerShdw blurRad="50800" dist="38100" dir="2700000" algn="tl" rotWithShape="0">
                  <a:srgbClr val="000000">
                    <a:alpha val="40000"/>
                  </a:srgbClr>
                </a:outerShdw>
              </a:effectLst>
            </p:spPr>
          </p:pic>
          <p:sp>
            <p:nvSpPr>
              <p:cNvPr id="754" name="Google Shape;754;p34"/>
              <p:cNvSpPr/>
              <p:nvPr/>
            </p:nvSpPr>
            <p:spPr>
              <a:xfrm>
                <a:off x="614186" y="3812974"/>
                <a:ext cx="147143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a:solidFill>
                      <a:srgbClr val="D70038"/>
                    </a:solidFill>
                    <a:latin typeface="Arial"/>
                    <a:ea typeface="Arial"/>
                    <a:cs typeface="Arial"/>
                    <a:sym typeface="Arial"/>
                  </a:rPr>
                  <a:t>Sarin </a:t>
                </a:r>
                <a:r>
                  <a:rPr lang="en-US" sz="1200" b="1" i="0" u="none" strike="noStrike" cap="none" dirty="0" err="1">
                    <a:solidFill>
                      <a:srgbClr val="D70038"/>
                    </a:solidFill>
                    <a:latin typeface="Arial"/>
                    <a:ea typeface="Arial"/>
                    <a:cs typeface="Arial"/>
                    <a:sym typeface="Arial"/>
                  </a:rPr>
                  <a:t>Suares</a:t>
                </a:r>
                <a:endParaRPr sz="1200" b="1" i="0" u="none" strike="noStrike" cap="none" dirty="0">
                  <a:solidFill>
                    <a:srgbClr val="D70038"/>
                  </a:solidFill>
                  <a:latin typeface="Arial"/>
                  <a:ea typeface="Arial"/>
                  <a:cs typeface="Arial"/>
                  <a:sym typeface="Arial"/>
                </a:endParaRPr>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CFO</a:t>
                </a:r>
                <a:endParaRPr dirty="0"/>
              </a:p>
            </p:txBody>
          </p:sp>
          <p:sp>
            <p:nvSpPr>
              <p:cNvPr id="755" name="Google Shape;755;p34"/>
              <p:cNvSpPr/>
              <p:nvPr/>
            </p:nvSpPr>
            <p:spPr>
              <a:xfrm>
                <a:off x="1976342" y="2859894"/>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17+ year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Bharti Airtel, </a:t>
                </a:r>
                <a:r>
                  <a:rPr lang="en-US" sz="1200" b="0" i="0" u="none" strike="noStrike" cap="none" dirty="0" err="1">
                    <a:solidFill>
                      <a:srgbClr val="333333"/>
                    </a:solidFill>
                    <a:latin typeface="Arial"/>
                    <a:ea typeface="Arial"/>
                    <a:cs typeface="Arial"/>
                    <a:sym typeface="Arial"/>
                  </a:rPr>
                  <a:t>KritiKal</a:t>
                </a:r>
                <a:endParaRPr sz="1200" b="0" i="0" u="none" strike="noStrike" cap="none" dirty="0">
                  <a:solidFill>
                    <a:srgbClr val="333333"/>
                  </a:solidFill>
                  <a:latin typeface="Arial"/>
                  <a:ea typeface="Arial"/>
                  <a:cs typeface="Arial"/>
                  <a:sym typeface="Arial"/>
                </a:endParaRPr>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IIM Bangalore, IIT Delhi</a:t>
                </a:r>
                <a:endParaRPr sz="1200" dirty="0"/>
              </a:p>
            </p:txBody>
          </p:sp>
        </p:grpSp>
        <p:grpSp>
          <p:nvGrpSpPr>
            <p:cNvPr id="756" name="Google Shape;756;p34"/>
            <p:cNvGrpSpPr/>
            <p:nvPr/>
          </p:nvGrpSpPr>
          <p:grpSpPr>
            <a:xfrm>
              <a:off x="597509" y="2706025"/>
              <a:ext cx="3566384" cy="1475992"/>
              <a:chOff x="4331978" y="2859894"/>
              <a:chExt cx="3566384" cy="1475992"/>
            </a:xfrm>
          </p:grpSpPr>
          <p:sp>
            <p:nvSpPr>
              <p:cNvPr id="757" name="Google Shape;757;p34"/>
              <p:cNvSpPr/>
              <p:nvPr/>
            </p:nvSpPr>
            <p:spPr>
              <a:xfrm>
                <a:off x="4332202" y="2859894"/>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pic>
            <p:nvPicPr>
              <p:cNvPr id="758" name="Google Shape;758;p34" descr="A person wearing glasses and smiling at the camera&#10;&#10;Description automatically generated"/>
              <p:cNvPicPr preferRelativeResize="0"/>
              <p:nvPr/>
            </p:nvPicPr>
            <p:blipFill rotWithShape="1">
              <a:blip r:embed="rId6">
                <a:alphaModFix/>
              </a:blip>
              <a:srcRect/>
              <a:stretch/>
            </p:blipFill>
            <p:spPr>
              <a:xfrm>
                <a:off x="4431592" y="2959284"/>
                <a:ext cx="731520" cy="731520"/>
              </a:xfrm>
              <a:prstGeom prst="ellipse">
                <a:avLst/>
              </a:prstGeom>
              <a:solidFill>
                <a:srgbClr val="B5B5B5"/>
              </a:solidFill>
              <a:ln w="12700" cap="flat" cmpd="sng">
                <a:solidFill>
                  <a:srgbClr val="D70038"/>
                </a:solidFill>
                <a:prstDash val="solid"/>
                <a:miter lim="400000"/>
                <a:headEnd type="none" w="sm" len="sm"/>
                <a:tailEnd type="none" w="sm" len="sm"/>
              </a:ln>
              <a:effectLst>
                <a:outerShdw blurRad="50800" dist="38100" dir="2700000" algn="tl" rotWithShape="0">
                  <a:srgbClr val="000000">
                    <a:alpha val="40000"/>
                  </a:srgbClr>
                </a:outerShdw>
              </a:effectLst>
            </p:spPr>
          </p:pic>
          <p:sp>
            <p:nvSpPr>
              <p:cNvPr id="759" name="Google Shape;759;p34"/>
              <p:cNvSpPr/>
              <p:nvPr/>
            </p:nvSpPr>
            <p:spPr>
              <a:xfrm>
                <a:off x="4331978" y="3815951"/>
                <a:ext cx="147143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a:solidFill>
                      <a:srgbClr val="D70038"/>
                    </a:solidFill>
                    <a:latin typeface="Arial"/>
                    <a:ea typeface="Arial"/>
                    <a:cs typeface="Arial"/>
                    <a:sym typeface="Arial"/>
                  </a:rPr>
                  <a:t>Ajay Solanki</a:t>
                </a:r>
                <a:endParaRPr sz="1200" dirty="0"/>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CTO</a:t>
                </a:r>
                <a:endParaRPr sz="1200" b="0" i="0" u="none" strike="noStrike" cap="none" dirty="0">
                  <a:solidFill>
                    <a:srgbClr val="333333"/>
                  </a:solidFill>
                  <a:latin typeface="Arial"/>
                  <a:ea typeface="Arial"/>
                  <a:cs typeface="Arial"/>
                  <a:sym typeface="Arial"/>
                </a:endParaRPr>
              </a:p>
            </p:txBody>
          </p:sp>
          <p:sp>
            <p:nvSpPr>
              <p:cNvPr id="760" name="Google Shape;760;p34"/>
              <p:cNvSpPr/>
              <p:nvPr/>
            </p:nvSpPr>
            <p:spPr>
              <a:xfrm>
                <a:off x="5703802" y="2859894"/>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21+ year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Microsoft, GE Energy, Neal Analytics ++</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BE Comp Sc (Pune University)</a:t>
                </a:r>
                <a:endParaRPr sz="1200" dirty="0"/>
              </a:p>
            </p:txBody>
          </p:sp>
        </p:grpSp>
        <p:grpSp>
          <p:nvGrpSpPr>
            <p:cNvPr id="761" name="Google Shape;761;p34"/>
            <p:cNvGrpSpPr/>
            <p:nvPr/>
          </p:nvGrpSpPr>
          <p:grpSpPr>
            <a:xfrm>
              <a:off x="7914327" y="2706429"/>
              <a:ext cx="3566160" cy="1475992"/>
              <a:chOff x="8050275" y="2859894"/>
              <a:chExt cx="3566160" cy="1475992"/>
            </a:xfrm>
          </p:grpSpPr>
          <p:sp>
            <p:nvSpPr>
              <p:cNvPr id="762" name="Google Shape;762;p34"/>
              <p:cNvSpPr/>
              <p:nvPr/>
            </p:nvSpPr>
            <p:spPr>
              <a:xfrm>
                <a:off x="8050275" y="2859894"/>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grpSp>
            <p:nvGrpSpPr>
              <p:cNvPr id="763" name="Google Shape;763;p34"/>
              <p:cNvGrpSpPr/>
              <p:nvPr/>
            </p:nvGrpSpPr>
            <p:grpSpPr>
              <a:xfrm>
                <a:off x="8076909" y="2859894"/>
                <a:ext cx="3539526" cy="1439963"/>
                <a:chOff x="8076909" y="2859894"/>
                <a:chExt cx="3539526" cy="1439963"/>
              </a:xfrm>
            </p:grpSpPr>
            <p:pic>
              <p:nvPicPr>
                <p:cNvPr id="764" name="Google Shape;764;p34" descr="Profile photo of Anupam Chandra"/>
                <p:cNvPicPr preferRelativeResize="0"/>
                <p:nvPr/>
              </p:nvPicPr>
              <p:blipFill rotWithShape="1">
                <a:blip r:embed="rId7">
                  <a:alphaModFix/>
                  <a:extLst>
                    <a:ext uri="{BEBA8EAE-BF5A-486C-A8C5-ECC9F3942E4B}">
                      <a14:imgProps xmlns:a14="http://schemas.microsoft.com/office/drawing/2010/main">
                        <a14:imgLayer r:embed="rId8">
                          <a14:imgEffect>
                            <a14:saturation sat="0"/>
                          </a14:imgEffect>
                        </a14:imgLayer>
                      </a14:imgProps>
                    </a:ext>
                  </a:extLst>
                </a:blip>
                <a:srcRect/>
                <a:stretch/>
              </p:blipFill>
              <p:spPr>
                <a:xfrm>
                  <a:off x="8149665" y="2959284"/>
                  <a:ext cx="731520" cy="731520"/>
                </a:xfrm>
                <a:prstGeom prst="ellipse">
                  <a:avLst/>
                </a:prstGeom>
                <a:solidFill>
                  <a:srgbClr val="B5B5B5"/>
                </a:solidFill>
                <a:ln w="12700" cap="flat" cmpd="sng">
                  <a:solidFill>
                    <a:srgbClr val="D70038"/>
                  </a:solidFill>
                  <a:prstDash val="solid"/>
                  <a:miter lim="400000"/>
                  <a:headEnd type="none" w="sm" len="sm"/>
                  <a:tailEnd type="none" w="sm" len="sm"/>
                </a:ln>
                <a:effectLst>
                  <a:outerShdw blurRad="50800" dist="38100" dir="2700000" algn="tl" rotWithShape="0">
                    <a:srgbClr val="000000">
                      <a:alpha val="40000"/>
                    </a:srgbClr>
                  </a:outerShdw>
                </a:effectLst>
              </p:spPr>
            </p:pic>
            <p:sp>
              <p:nvSpPr>
                <p:cNvPr id="765" name="Google Shape;765;p34"/>
                <p:cNvSpPr/>
                <p:nvPr/>
              </p:nvSpPr>
              <p:spPr>
                <a:xfrm>
                  <a:off x="8076909" y="3812429"/>
                  <a:ext cx="147143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a:solidFill>
                        <a:srgbClr val="D70038"/>
                      </a:solidFill>
                      <a:latin typeface="Arial"/>
                      <a:ea typeface="Arial"/>
                      <a:cs typeface="Arial"/>
                      <a:sym typeface="Arial"/>
                    </a:rPr>
                    <a:t>Anupam Chandra</a:t>
                  </a:r>
                  <a:endParaRPr dirty="0"/>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COO</a:t>
                  </a:r>
                  <a:endParaRPr sz="1200" b="0" i="0" u="none" strike="noStrike" cap="none" dirty="0">
                    <a:solidFill>
                      <a:srgbClr val="333333"/>
                    </a:solidFill>
                    <a:latin typeface="Arial"/>
                    <a:ea typeface="Arial"/>
                    <a:cs typeface="Arial"/>
                    <a:sym typeface="Arial"/>
                  </a:endParaRPr>
                </a:p>
              </p:txBody>
            </p:sp>
            <p:sp>
              <p:nvSpPr>
                <p:cNvPr id="766" name="Google Shape;766;p34"/>
                <p:cNvSpPr/>
                <p:nvPr/>
              </p:nvSpPr>
              <p:spPr>
                <a:xfrm>
                  <a:off x="9421875" y="2859894"/>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21+ year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Mphasis, Sapient, Siemens, GE Healthcare</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ISB Hyderabad</a:t>
                  </a:r>
                  <a:endParaRPr sz="1200" dirty="0"/>
                </a:p>
              </p:txBody>
            </p:sp>
          </p:grpSp>
        </p:grpSp>
        <p:grpSp>
          <p:nvGrpSpPr>
            <p:cNvPr id="777" name="Google Shape;777;p34"/>
            <p:cNvGrpSpPr/>
            <p:nvPr/>
          </p:nvGrpSpPr>
          <p:grpSpPr>
            <a:xfrm>
              <a:off x="4260218" y="950566"/>
              <a:ext cx="3570929" cy="1475992"/>
              <a:chOff x="4327433" y="1206204"/>
              <a:chExt cx="3570929" cy="1475992"/>
            </a:xfrm>
          </p:grpSpPr>
          <p:sp>
            <p:nvSpPr>
              <p:cNvPr id="778" name="Google Shape;778;p34"/>
              <p:cNvSpPr/>
              <p:nvPr/>
            </p:nvSpPr>
            <p:spPr>
              <a:xfrm>
                <a:off x="4332202" y="1206204"/>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sp>
            <p:nvSpPr>
              <p:cNvPr id="779" name="Google Shape;779;p34"/>
              <p:cNvSpPr/>
              <p:nvPr/>
            </p:nvSpPr>
            <p:spPr>
              <a:xfrm>
                <a:off x="4327433" y="2177247"/>
                <a:ext cx="2263956"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err="1">
                    <a:solidFill>
                      <a:srgbClr val="D70038"/>
                    </a:solidFill>
                    <a:latin typeface="Arial"/>
                    <a:ea typeface="Arial"/>
                    <a:cs typeface="Arial"/>
                    <a:sym typeface="Arial"/>
                  </a:rPr>
                  <a:t>Suryadip</a:t>
                </a:r>
                <a:r>
                  <a:rPr lang="en-US" sz="1200" b="1" i="0" u="none" strike="noStrike" cap="none" dirty="0">
                    <a:solidFill>
                      <a:srgbClr val="D70038"/>
                    </a:solidFill>
                    <a:latin typeface="Arial"/>
                    <a:ea typeface="Arial"/>
                    <a:cs typeface="Arial"/>
                    <a:sym typeface="Arial"/>
                  </a:rPr>
                  <a:t> Ghoshal</a:t>
                </a:r>
                <a:endParaRPr sz="1200" dirty="0"/>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Chief Analytics Officer</a:t>
                </a:r>
                <a:endParaRPr sz="1200" dirty="0"/>
              </a:p>
            </p:txBody>
          </p:sp>
          <p:sp>
            <p:nvSpPr>
              <p:cNvPr id="780" name="Google Shape;780;p34"/>
              <p:cNvSpPr/>
              <p:nvPr/>
            </p:nvSpPr>
            <p:spPr>
              <a:xfrm>
                <a:off x="5703802" y="1206204"/>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15+ year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FICO, PwC, Diamond Consultant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IGIDR (MSc Econ), University of Calcutta (Econ)</a:t>
                </a:r>
                <a:endParaRPr sz="1200" dirty="0"/>
              </a:p>
            </p:txBody>
          </p:sp>
          <p:pic>
            <p:nvPicPr>
              <p:cNvPr id="781" name="Google Shape;781;p34"/>
              <p:cNvPicPr preferRelativeResize="0"/>
              <p:nvPr/>
            </p:nvPicPr>
            <p:blipFill rotWithShape="1">
              <a:blip r:embed="rId9">
                <a:alphaModFix/>
              </a:blip>
              <a:srcRect/>
              <a:stretch/>
            </p:blipFill>
            <p:spPr>
              <a:xfrm>
                <a:off x="4431592" y="1305594"/>
                <a:ext cx="731520" cy="731520"/>
              </a:xfrm>
              <a:prstGeom prst="ellipse">
                <a:avLst/>
              </a:prstGeom>
              <a:noFill/>
              <a:ln w="12700" cap="flat" cmpd="sng">
                <a:solidFill>
                  <a:srgbClr val="D70038"/>
                </a:solidFill>
                <a:prstDash val="solid"/>
                <a:round/>
                <a:headEnd type="none" w="sm" len="sm"/>
                <a:tailEnd type="none" w="sm" len="sm"/>
              </a:ln>
              <a:effectLst>
                <a:outerShdw blurRad="50800" dist="38100" dir="2700000" algn="tl" rotWithShape="0">
                  <a:srgbClr val="000000">
                    <a:alpha val="40000"/>
                  </a:srgbClr>
                </a:outerShdw>
              </a:effectLst>
            </p:spPr>
          </p:pic>
        </p:grpSp>
        <p:grpSp>
          <p:nvGrpSpPr>
            <p:cNvPr id="782" name="Google Shape;782;p34"/>
            <p:cNvGrpSpPr/>
            <p:nvPr/>
          </p:nvGrpSpPr>
          <p:grpSpPr>
            <a:xfrm>
              <a:off x="597733" y="950566"/>
              <a:ext cx="3566160" cy="1475992"/>
              <a:chOff x="604742" y="1206204"/>
              <a:chExt cx="3566160" cy="1475992"/>
            </a:xfrm>
          </p:grpSpPr>
          <p:sp>
            <p:nvSpPr>
              <p:cNvPr id="783" name="Google Shape;783;p34"/>
              <p:cNvSpPr/>
              <p:nvPr/>
            </p:nvSpPr>
            <p:spPr>
              <a:xfrm>
                <a:off x="604742" y="1206204"/>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sp>
            <p:nvSpPr>
              <p:cNvPr id="784" name="Google Shape;784;p34"/>
              <p:cNvSpPr/>
              <p:nvPr/>
            </p:nvSpPr>
            <p:spPr>
              <a:xfrm>
                <a:off x="631162" y="2177247"/>
                <a:ext cx="147143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a:solidFill>
                      <a:srgbClr val="D70038"/>
                    </a:solidFill>
                    <a:latin typeface="Arial"/>
                    <a:ea typeface="Arial"/>
                    <a:cs typeface="Arial"/>
                    <a:sym typeface="Arial"/>
                  </a:rPr>
                  <a:t>Amit Das</a:t>
                </a:r>
                <a:endParaRPr sz="1200" dirty="0"/>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CEO</a:t>
                </a:r>
                <a:endParaRPr sz="1200" dirty="0"/>
              </a:p>
            </p:txBody>
          </p:sp>
          <p:sp>
            <p:nvSpPr>
              <p:cNvPr id="785" name="Google Shape;785;p34"/>
              <p:cNvSpPr/>
              <p:nvPr/>
            </p:nvSpPr>
            <p:spPr>
              <a:xfrm>
                <a:off x="1976342" y="1206204"/>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17+ years </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PwC, Diamond Consultants, 3i Infotech, </a:t>
                </a:r>
                <a:r>
                  <a:rPr lang="en-US" sz="1200" b="0" i="0" u="none" strike="noStrike" cap="none" dirty="0" err="1">
                    <a:solidFill>
                      <a:srgbClr val="333333"/>
                    </a:solidFill>
                    <a:latin typeface="Arial"/>
                    <a:ea typeface="Arial"/>
                    <a:cs typeface="Arial"/>
                    <a:sym typeface="Arial"/>
                  </a:rPr>
                  <a:t>Inductis</a:t>
                </a:r>
                <a:r>
                  <a:rPr lang="en-US" sz="1200" b="0" i="0" u="none" strike="noStrike" cap="none" dirty="0">
                    <a:solidFill>
                      <a:srgbClr val="333333"/>
                    </a:solidFill>
                    <a:latin typeface="Arial"/>
                    <a:ea typeface="Arial"/>
                    <a:cs typeface="Arial"/>
                    <a:sym typeface="Arial"/>
                  </a:rPr>
                  <a:t> (EXL Services), TC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IIM Bangalore, DU (Econ)</a:t>
                </a:r>
                <a:endParaRPr sz="1200" b="0" i="0" u="none" strike="noStrike" cap="none" dirty="0">
                  <a:solidFill>
                    <a:srgbClr val="333333"/>
                  </a:solidFill>
                  <a:latin typeface="Arial"/>
                  <a:ea typeface="Arial"/>
                  <a:cs typeface="Arial"/>
                  <a:sym typeface="Arial"/>
                </a:endParaRPr>
              </a:p>
            </p:txBody>
          </p:sp>
          <p:pic>
            <p:nvPicPr>
              <p:cNvPr id="786" name="Google Shape;786;p34"/>
              <p:cNvPicPr preferRelativeResize="0"/>
              <p:nvPr/>
            </p:nvPicPr>
            <p:blipFill rotWithShape="1">
              <a:blip r:embed="rId10">
                <a:alphaModFix/>
              </a:blip>
              <a:srcRect/>
              <a:stretch/>
            </p:blipFill>
            <p:spPr>
              <a:xfrm>
                <a:off x="704132" y="1305594"/>
                <a:ext cx="731520" cy="731520"/>
              </a:xfrm>
              <a:prstGeom prst="ellipse">
                <a:avLst/>
              </a:prstGeom>
              <a:noFill/>
              <a:ln w="12700" cap="flat" cmpd="sng">
                <a:solidFill>
                  <a:srgbClr val="D70038"/>
                </a:solidFill>
                <a:prstDash val="solid"/>
                <a:round/>
                <a:headEnd type="none" w="sm" len="sm"/>
                <a:tailEnd type="none" w="sm" len="sm"/>
              </a:ln>
              <a:effectLst>
                <a:outerShdw blurRad="50800" dist="38100" dir="2700000" algn="tl" rotWithShape="0">
                  <a:srgbClr val="000000">
                    <a:alpha val="40000"/>
                  </a:srgbClr>
                </a:outerShdw>
              </a:effectLst>
            </p:spPr>
          </p:pic>
        </p:grpSp>
        <p:grpSp>
          <p:nvGrpSpPr>
            <p:cNvPr id="5" name="Group 4">
              <a:extLst>
                <a:ext uri="{FF2B5EF4-FFF2-40B4-BE49-F238E27FC236}">
                  <a16:creationId xmlns:a16="http://schemas.microsoft.com/office/drawing/2014/main" id="{CB3355E5-5D06-4913-AF48-A6448E845C1E}"/>
                </a:ext>
              </a:extLst>
            </p:cNvPr>
            <p:cNvGrpSpPr/>
            <p:nvPr/>
          </p:nvGrpSpPr>
          <p:grpSpPr>
            <a:xfrm>
              <a:off x="2477029" y="4461484"/>
              <a:ext cx="7263342" cy="1481947"/>
              <a:chOff x="2567084" y="4461484"/>
              <a:chExt cx="7263342" cy="1481947"/>
            </a:xfrm>
          </p:grpSpPr>
          <p:grpSp>
            <p:nvGrpSpPr>
              <p:cNvPr id="4" name="Group 3">
                <a:extLst>
                  <a:ext uri="{FF2B5EF4-FFF2-40B4-BE49-F238E27FC236}">
                    <a16:creationId xmlns:a16="http://schemas.microsoft.com/office/drawing/2014/main" id="{E52A1B8D-83C6-429D-AFFD-AAF23E22C756}"/>
                  </a:ext>
                </a:extLst>
              </p:cNvPr>
              <p:cNvGrpSpPr/>
              <p:nvPr/>
            </p:nvGrpSpPr>
            <p:grpSpPr>
              <a:xfrm>
                <a:off x="6264266" y="4467439"/>
                <a:ext cx="3566160" cy="1475992"/>
                <a:chOff x="6264266" y="4467439"/>
                <a:chExt cx="3566160" cy="1475992"/>
              </a:xfrm>
            </p:grpSpPr>
            <p:sp>
              <p:nvSpPr>
                <p:cNvPr id="773" name="Google Shape;773;p34"/>
                <p:cNvSpPr/>
                <p:nvPr/>
              </p:nvSpPr>
              <p:spPr>
                <a:xfrm>
                  <a:off x="6264266" y="4467439"/>
                  <a:ext cx="3566160" cy="1475992"/>
                </a:xfrm>
                <a:prstGeom prst="rect">
                  <a:avLst/>
                </a:prstGeom>
                <a:solidFill>
                  <a:schemeClr val="bg1"/>
                </a:solidFill>
                <a:ln w="12700" cap="flat" cmpd="sng">
                  <a:solidFill>
                    <a:srgbClr val="51C3F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333333"/>
                    </a:solidFill>
                    <a:latin typeface="Arial"/>
                    <a:ea typeface="Arial"/>
                    <a:cs typeface="Arial"/>
                    <a:sym typeface="Arial"/>
                  </a:endParaRPr>
                </a:p>
              </p:txBody>
            </p:sp>
            <p:pic>
              <p:nvPicPr>
                <p:cNvPr id="774" name="Google Shape;774;p34" descr="A person posing for the camera&#10;&#10;Description automatically generated"/>
                <p:cNvPicPr preferRelativeResize="0"/>
                <p:nvPr/>
              </p:nvPicPr>
              <p:blipFill rotWithShape="1">
                <a:blip r:embed="rId11">
                  <a:alphaModFix/>
                  <a:extLst>
                    <a:ext uri="{BEBA8EAE-BF5A-486C-A8C5-ECC9F3942E4B}">
                      <a14:imgProps xmlns:a14="http://schemas.microsoft.com/office/drawing/2010/main">
                        <a14:imgLayer r:embed="rId12">
                          <a14:imgEffect>
                            <a14:saturation sat="0"/>
                          </a14:imgEffect>
                        </a14:imgLayer>
                      </a14:imgProps>
                    </a:ext>
                  </a:extLst>
                </a:blip>
                <a:srcRect/>
                <a:stretch/>
              </p:blipFill>
              <p:spPr>
                <a:xfrm>
                  <a:off x="6363656" y="4566829"/>
                  <a:ext cx="731520" cy="731520"/>
                </a:xfrm>
                <a:prstGeom prst="ellipse">
                  <a:avLst/>
                </a:prstGeom>
                <a:solidFill>
                  <a:srgbClr val="B5B5B5"/>
                </a:solidFill>
                <a:ln w="12700" cap="flat" cmpd="sng">
                  <a:solidFill>
                    <a:srgbClr val="D70038"/>
                  </a:solidFill>
                  <a:prstDash val="solid"/>
                  <a:miter lim="400000"/>
                  <a:headEnd type="none" w="sm" len="sm"/>
                  <a:tailEnd type="none" w="sm" len="sm"/>
                </a:ln>
                <a:effectLst>
                  <a:outerShdw blurRad="50800" dist="38100" dir="2700000" algn="tl" rotWithShape="0">
                    <a:srgbClr val="000000">
                      <a:alpha val="40000"/>
                    </a:srgbClr>
                  </a:outerShdw>
                </a:effectLst>
              </p:spPr>
            </p:pic>
            <p:sp>
              <p:nvSpPr>
                <p:cNvPr id="775" name="Google Shape;775;p34"/>
                <p:cNvSpPr/>
                <p:nvPr/>
              </p:nvSpPr>
              <p:spPr>
                <a:xfrm>
                  <a:off x="6283647" y="5438481"/>
                  <a:ext cx="246159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D70038"/>
                    </a:buClr>
                    <a:buSzPts val="1200"/>
                    <a:buFont typeface="Arial"/>
                    <a:buNone/>
                  </a:pPr>
                  <a:r>
                    <a:rPr lang="en-US" sz="1200" b="1" i="0" u="none" strike="noStrike" cap="none" dirty="0">
                      <a:solidFill>
                        <a:srgbClr val="D70038"/>
                      </a:solidFill>
                      <a:latin typeface="Arial"/>
                      <a:ea typeface="Arial"/>
                      <a:cs typeface="Arial"/>
                      <a:sym typeface="Arial"/>
                    </a:rPr>
                    <a:t>Neha </a:t>
                  </a:r>
                  <a:r>
                    <a:rPr lang="en-US" sz="1200" b="1" i="0" u="none" strike="noStrike" cap="none" dirty="0" err="1">
                      <a:solidFill>
                        <a:srgbClr val="D70038"/>
                      </a:solidFill>
                      <a:latin typeface="Arial"/>
                      <a:ea typeface="Arial"/>
                      <a:cs typeface="Arial"/>
                      <a:sym typeface="Arial"/>
                    </a:rPr>
                    <a:t>Swetambari</a:t>
                  </a:r>
                  <a:endParaRPr sz="1200" b="1" i="0" u="none" strike="noStrike" cap="none" dirty="0">
                    <a:solidFill>
                      <a:srgbClr val="D70038"/>
                    </a:solidFill>
                    <a:latin typeface="Arial"/>
                    <a:ea typeface="Arial"/>
                    <a:cs typeface="Arial"/>
                    <a:sym typeface="Arial"/>
                  </a:endParaRPr>
                </a:p>
                <a:p>
                  <a:pPr marL="0" marR="0" lvl="0" indent="0" algn="l" rtl="0">
                    <a:lnSpc>
                      <a:spcPct val="100000"/>
                    </a:lnSpc>
                    <a:spcBef>
                      <a:spcPts val="0"/>
                    </a:spcBef>
                    <a:spcAft>
                      <a:spcPts val="0"/>
                    </a:spcAft>
                    <a:buClr>
                      <a:srgbClr val="333333"/>
                    </a:buClr>
                    <a:buSzPts val="1200"/>
                    <a:buFont typeface="Arial"/>
                    <a:buNone/>
                  </a:pPr>
                  <a:r>
                    <a:rPr lang="en-US" sz="1200" b="0" i="0" u="none" strike="noStrike" cap="none" dirty="0">
                      <a:solidFill>
                        <a:srgbClr val="333333"/>
                      </a:solidFill>
                      <a:latin typeface="Arial"/>
                      <a:ea typeface="Arial"/>
                      <a:cs typeface="Arial"/>
                      <a:sym typeface="Arial"/>
                    </a:rPr>
                    <a:t>VP – Risk</a:t>
                  </a:r>
                  <a:endParaRPr sz="1200" b="0" i="0" u="none" strike="noStrike" cap="none" dirty="0">
                    <a:solidFill>
                      <a:srgbClr val="333333"/>
                    </a:solidFill>
                    <a:latin typeface="Arial"/>
                    <a:ea typeface="Arial"/>
                    <a:cs typeface="Arial"/>
                    <a:sym typeface="Arial"/>
                  </a:endParaRPr>
                </a:p>
              </p:txBody>
            </p:sp>
            <p:sp>
              <p:nvSpPr>
                <p:cNvPr id="776" name="Google Shape;776;p34"/>
                <p:cNvSpPr/>
                <p:nvPr/>
              </p:nvSpPr>
              <p:spPr>
                <a:xfrm>
                  <a:off x="7635866" y="4467439"/>
                  <a:ext cx="2194560" cy="1439963"/>
                </a:xfrm>
                <a:prstGeom prst="rect">
                  <a:avLst/>
                </a:prstGeom>
                <a:noFill/>
                <a:ln>
                  <a:noFill/>
                </a:ln>
              </p:spPr>
              <p:txBody>
                <a:bodyPr spcFirstLastPara="1" wrap="square" lIns="91425" tIns="45700" rIns="91425" bIns="45700" anchor="t" anchorCtr="0">
                  <a:noAutofit/>
                </a:bodyPr>
                <a:lstStyle/>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15+ years</a:t>
                  </a:r>
                  <a:endParaRPr sz="1200" dirty="0"/>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Experian, EY, ICICI, </a:t>
                  </a:r>
                  <a:r>
                    <a:rPr lang="en-US" sz="1200" b="0" i="0" u="none" strike="noStrike" cap="none" dirty="0" err="1">
                      <a:solidFill>
                        <a:srgbClr val="333333"/>
                      </a:solidFill>
                      <a:latin typeface="Arial"/>
                      <a:ea typeface="Arial"/>
                      <a:cs typeface="Arial"/>
                      <a:sym typeface="Arial"/>
                    </a:rPr>
                    <a:t>Inductis</a:t>
                  </a:r>
                  <a:endParaRPr sz="1200" b="0" i="0" u="none" strike="noStrike" cap="none" dirty="0">
                    <a:solidFill>
                      <a:srgbClr val="333333"/>
                    </a:solidFill>
                    <a:latin typeface="Arial"/>
                    <a:ea typeface="Arial"/>
                    <a:cs typeface="Arial"/>
                    <a:sym typeface="Arial"/>
                  </a:endParaRPr>
                </a:p>
                <a:p>
                  <a:pPr marL="184150" marR="0" lvl="0" indent="-184150" algn="l" rtl="0">
                    <a:lnSpc>
                      <a:spcPct val="100000"/>
                    </a:lnSpc>
                    <a:spcBef>
                      <a:spcPts val="0"/>
                    </a:spcBef>
                    <a:spcAft>
                      <a:spcPts val="0"/>
                    </a:spcAft>
                    <a:buClr>
                      <a:srgbClr val="333333"/>
                    </a:buClr>
                    <a:buSzPts val="1100"/>
                    <a:buFont typeface="Noto Sans Symbols"/>
                    <a:buChar char="▪"/>
                  </a:pPr>
                  <a:r>
                    <a:rPr lang="en-US" sz="1200" b="0" i="0" u="none" strike="noStrike" cap="none" dirty="0">
                      <a:solidFill>
                        <a:srgbClr val="333333"/>
                      </a:solidFill>
                      <a:latin typeface="Arial"/>
                      <a:ea typeface="Arial"/>
                      <a:cs typeface="Arial"/>
                      <a:sym typeface="Arial"/>
                    </a:rPr>
                    <a:t>MDI Gurgaon</a:t>
                  </a:r>
                  <a:endParaRPr sz="1200" dirty="0"/>
                </a:p>
              </p:txBody>
            </p:sp>
          </p:grpSp>
          <p:grpSp>
            <p:nvGrpSpPr>
              <p:cNvPr id="45" name="Group 44">
                <a:extLst>
                  <a:ext uri="{FF2B5EF4-FFF2-40B4-BE49-F238E27FC236}">
                    <a16:creationId xmlns:a16="http://schemas.microsoft.com/office/drawing/2014/main" id="{D64D88CD-406D-4722-8FF7-3215C9CC08CE}"/>
                  </a:ext>
                </a:extLst>
              </p:cNvPr>
              <p:cNvGrpSpPr/>
              <p:nvPr/>
            </p:nvGrpSpPr>
            <p:grpSpPr>
              <a:xfrm>
                <a:off x="2567084" y="4461484"/>
                <a:ext cx="3566160" cy="1475992"/>
                <a:chOff x="604742" y="4466701"/>
                <a:chExt cx="3566160" cy="1475992"/>
              </a:xfrm>
            </p:grpSpPr>
            <p:sp>
              <p:nvSpPr>
                <p:cNvPr id="46" name="Rectangle 45">
                  <a:extLst>
                    <a:ext uri="{FF2B5EF4-FFF2-40B4-BE49-F238E27FC236}">
                      <a16:creationId xmlns:a16="http://schemas.microsoft.com/office/drawing/2014/main" id="{B1838BD2-324B-4366-B8A7-FDBD0BD4347C}"/>
                    </a:ext>
                  </a:extLst>
                </p:cNvPr>
                <p:cNvSpPr/>
                <p:nvPr/>
              </p:nvSpPr>
              <p:spPr>
                <a:xfrm>
                  <a:off x="604742" y="4466701"/>
                  <a:ext cx="3566160" cy="1475992"/>
                </a:xfrm>
                <a:prstGeom prst="rect">
                  <a:avLst/>
                </a:prstGeom>
                <a:solidFill>
                  <a:schemeClr val="bg1"/>
                </a:solidFill>
                <a:ln w="12700">
                  <a:solidFill>
                    <a:srgbClr val="51C3F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33333"/>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D6A5429E-8250-47FF-A49A-E8408D6AA950}"/>
                    </a:ext>
                  </a:extLst>
                </p:cNvPr>
                <p:cNvSpPr/>
                <p:nvPr/>
              </p:nvSpPr>
              <p:spPr>
                <a:xfrm>
                  <a:off x="708990" y="5437744"/>
                  <a:ext cx="271742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D70038"/>
                      </a:solidFill>
                      <a:effectLst/>
                      <a:uLnTx/>
                      <a:uFillTx/>
                      <a:latin typeface="Arial"/>
                      <a:ea typeface="+mn-ea"/>
                      <a:cs typeface="+mn-cs"/>
                    </a:rPr>
                    <a:t>Michael Am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333333"/>
                      </a:solidFill>
                      <a:effectLst/>
                      <a:uLnTx/>
                      <a:uFillTx/>
                      <a:latin typeface="Arial"/>
                      <a:ea typeface="+mn-ea"/>
                      <a:cs typeface="+mn-cs"/>
                    </a:rPr>
                    <a:t>Vice President, Solutions - Americas</a:t>
                  </a:r>
                </a:p>
              </p:txBody>
            </p:sp>
            <p:sp>
              <p:nvSpPr>
                <p:cNvPr id="48" name="Rectangle 47">
                  <a:extLst>
                    <a:ext uri="{FF2B5EF4-FFF2-40B4-BE49-F238E27FC236}">
                      <a16:creationId xmlns:a16="http://schemas.microsoft.com/office/drawing/2014/main" id="{44C2730F-EBF7-4F2A-B527-8EA8E14D137A}"/>
                    </a:ext>
                  </a:extLst>
                </p:cNvPr>
                <p:cNvSpPr/>
                <p:nvPr/>
              </p:nvSpPr>
              <p:spPr>
                <a:xfrm>
                  <a:off x="1976342" y="4466701"/>
                  <a:ext cx="2194560" cy="1439963"/>
                </a:xfrm>
                <a:prstGeom prst="rect">
                  <a:avLst/>
                </a:prstGeom>
              </p:spPr>
              <p:txBody>
                <a:bodyPr wrap="square">
                  <a:noAutofit/>
                </a:bodyPr>
                <a:lstStyle/>
                <a:p>
                  <a:pPr marL="184150" marR="0" lvl="0" indent="-1841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100" b="0" i="0" u="none" strike="noStrike" kern="1200" cap="none" spc="0" normalizeH="0" baseline="0" noProof="0" dirty="0">
                      <a:ln>
                        <a:noFill/>
                      </a:ln>
                      <a:solidFill>
                        <a:srgbClr val="333333"/>
                      </a:solidFill>
                      <a:effectLst/>
                      <a:uLnTx/>
                      <a:uFillTx/>
                      <a:latin typeface="Arial"/>
                      <a:ea typeface="+mn-ea"/>
                      <a:cs typeface="+mn-cs"/>
                    </a:rPr>
                    <a:t>35+ years  </a:t>
                  </a:r>
                </a:p>
                <a:p>
                  <a:pPr marL="184150" marR="0" lvl="0" indent="-1841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100" b="0" i="0" u="none" strike="noStrike" kern="1200" cap="none" spc="0" normalizeH="0" baseline="0" noProof="0" dirty="0">
                      <a:ln>
                        <a:noFill/>
                      </a:ln>
                      <a:solidFill>
                        <a:srgbClr val="333333"/>
                      </a:solidFill>
                      <a:effectLst/>
                      <a:uLnTx/>
                      <a:uFillTx/>
                      <a:latin typeface="Arial"/>
                      <a:ea typeface="+mn-ea"/>
                      <a:cs typeface="+mn-cs"/>
                    </a:rPr>
                    <a:t>IBM, Oracle, Compuware, Digite</a:t>
                  </a:r>
                </a:p>
                <a:p>
                  <a:pPr marL="184150" marR="0" lvl="0" indent="-1841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100" b="0" i="0" u="none" strike="noStrike" kern="1200" cap="none" spc="0" normalizeH="0" baseline="0" noProof="0" dirty="0">
                      <a:ln>
                        <a:noFill/>
                      </a:ln>
                      <a:solidFill>
                        <a:srgbClr val="333333"/>
                      </a:solidFill>
                      <a:effectLst/>
                      <a:uLnTx/>
                      <a:uFillTx/>
                      <a:latin typeface="Arial"/>
                      <a:ea typeface="+mn-ea"/>
                      <a:cs typeface="+mn-cs"/>
                    </a:rPr>
                    <a:t>BA (University of Cincinnati)</a:t>
                  </a:r>
                </a:p>
              </p:txBody>
            </p:sp>
            <p:pic>
              <p:nvPicPr>
                <p:cNvPr id="49" name="Picture 48">
                  <a:extLst>
                    <a:ext uri="{FF2B5EF4-FFF2-40B4-BE49-F238E27FC236}">
                      <a16:creationId xmlns:a16="http://schemas.microsoft.com/office/drawing/2014/main" id="{B60F13C3-EFD1-4377-9845-FAC6FCE7D1A9}"/>
                    </a:ext>
                  </a:extLst>
                </p:cNvPr>
                <p:cNvPicPr>
                  <a:picLocks noChangeAspect="1"/>
                </p:cNvPicPr>
                <p:nvPr/>
              </p:nvPicPr>
              <p:blipFill rotWithShape="1">
                <a:blip r:embed="rId13">
                  <a:grayscl/>
                  <a:extLst>
                    <a:ext uri="{BEBA8EAE-BF5A-486C-A8C5-ECC9F3942E4B}">
                      <a14:imgProps xmlns:a14="http://schemas.microsoft.com/office/drawing/2010/main">
                        <a14:imgLayer r:embed="rId14">
                          <a14:imgEffect>
                            <a14:saturation sat="0"/>
                          </a14:imgEffect>
                        </a14:imgLayer>
                      </a14:imgProps>
                    </a:ext>
                  </a:extLst>
                </a:blip>
                <a:srcRect l="40802" t="26256" r="34929" b="13546"/>
                <a:stretch/>
              </p:blipFill>
              <p:spPr>
                <a:xfrm>
                  <a:off x="717718" y="4661847"/>
                  <a:ext cx="731520" cy="732704"/>
                </a:xfrm>
                <a:prstGeom prst="ellipse">
                  <a:avLst/>
                </a:prstGeom>
                <a:ln>
                  <a:solidFill>
                    <a:srgbClr val="D70038"/>
                  </a:solidFill>
                </a:ln>
              </p:spPr>
            </p:pic>
          </p:gr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AF134-1947-4751-959D-0DBB07FD4266}"/>
              </a:ext>
            </a:extLst>
          </p:cNvPr>
          <p:cNvSpPr>
            <a:spLocks noGrp="1"/>
          </p:cNvSpPr>
          <p:nvPr>
            <p:ph type="title"/>
          </p:nvPr>
        </p:nvSpPr>
        <p:spPr/>
        <p:txBody>
          <a:bodyPr anchor="t">
            <a:normAutofit/>
          </a:bodyPr>
          <a:lstStyle/>
          <a:p>
            <a:r>
              <a:rPr lang="en-US" dirty="0">
                <a:solidFill>
                  <a:schemeClr val="accent3"/>
                </a:solidFill>
              </a:rPr>
              <a:t>Our services team solves complicated business problems through technology and analytics </a:t>
            </a:r>
          </a:p>
        </p:txBody>
      </p:sp>
      <p:sp>
        <p:nvSpPr>
          <p:cNvPr id="4" name="Slide Number Placeholder 3">
            <a:extLst>
              <a:ext uri="{FF2B5EF4-FFF2-40B4-BE49-F238E27FC236}">
                <a16:creationId xmlns:a16="http://schemas.microsoft.com/office/drawing/2014/main" id="{CA33CD04-16F0-8545-88D1-A8A614EC8A32}"/>
              </a:ext>
            </a:extLst>
          </p:cNvPr>
          <p:cNvSpPr>
            <a:spLocks noGrp="1"/>
          </p:cNvSpPr>
          <p:nvPr>
            <p:ph type="sldNum" sz="quarter" idx="4"/>
          </p:nvPr>
        </p:nvSpPr>
        <p:spPr/>
        <p:txBody>
          <a:bodyPr/>
          <a:lstStyle/>
          <a:p>
            <a:fld id="{528BB524-624A-44EE-AE47-DEBD37F257B2}" type="slidenum">
              <a:rPr lang="en-US" smtClean="0"/>
              <a:pPr/>
              <a:t>8</a:t>
            </a:fld>
            <a:endParaRPr lang="en-US" dirty="0"/>
          </a:p>
        </p:txBody>
      </p:sp>
      <p:sp>
        <p:nvSpPr>
          <p:cNvPr id="6" name="Rectangle 5">
            <a:extLst>
              <a:ext uri="{FF2B5EF4-FFF2-40B4-BE49-F238E27FC236}">
                <a16:creationId xmlns:a16="http://schemas.microsoft.com/office/drawing/2014/main" id="{8461E43F-6C2C-4E0E-83C8-1BF1E4228B8E}"/>
              </a:ext>
            </a:extLst>
          </p:cNvPr>
          <p:cNvSpPr/>
          <p:nvPr/>
        </p:nvSpPr>
        <p:spPr>
          <a:xfrm>
            <a:off x="587375" y="1343608"/>
            <a:ext cx="3096858" cy="4606342"/>
          </a:xfrm>
          <a:prstGeom prst="rect">
            <a:avLst/>
          </a:prstGeom>
          <a:solidFill>
            <a:schemeClr val="bg1"/>
          </a:solidFill>
        </p:spPr>
        <p:txBody>
          <a:bodyPr rtlCol="0" anchor="ctr">
            <a:noAutofit/>
          </a:bodyPr>
          <a:lstStyle/>
          <a:p>
            <a:pPr marL="285750" indent="-285750">
              <a:spcBef>
                <a:spcPts val="2200"/>
              </a:spcBef>
              <a:buFont typeface="Wingdings" panose="05000000000000000000" pitchFamily="2" charset="2"/>
              <a:buChar char="§"/>
            </a:pPr>
            <a:r>
              <a:rPr lang="en-US" sz="2000" dirty="0">
                <a:solidFill>
                  <a:schemeClr val="bg1">
                    <a:lumMod val="10000"/>
                  </a:schemeClr>
                </a:solidFill>
                <a:latin typeface="+mj-lt"/>
                <a:cs typeface="Segoe UI" panose="020B0502040204020203" pitchFamily="34" charset="0"/>
              </a:rPr>
              <a:t>We solve </a:t>
            </a:r>
            <a:r>
              <a:rPr lang="en-US" sz="2000" b="1" dirty="0">
                <a:solidFill>
                  <a:schemeClr val="bg1">
                    <a:lumMod val="10000"/>
                  </a:schemeClr>
                </a:solidFill>
                <a:latin typeface="+mj-lt"/>
                <a:cs typeface="Segoe UI" panose="020B0502040204020203" pitchFamily="34" charset="0"/>
              </a:rPr>
              <a:t>high impact problems </a:t>
            </a:r>
            <a:r>
              <a:rPr lang="en-US" sz="2000" dirty="0">
                <a:solidFill>
                  <a:schemeClr val="bg1">
                    <a:lumMod val="10000"/>
                  </a:schemeClr>
                </a:solidFill>
                <a:latin typeface="+mj-lt"/>
                <a:cs typeface="Segoe UI" panose="020B0502040204020203" pitchFamily="34" charset="0"/>
              </a:rPr>
              <a:t>using analytics</a:t>
            </a:r>
            <a:endParaRPr lang="en-US" sz="2000" b="1" dirty="0">
              <a:solidFill>
                <a:schemeClr val="bg1">
                  <a:lumMod val="10000"/>
                </a:schemeClr>
              </a:solidFill>
              <a:latin typeface="+mj-lt"/>
              <a:cs typeface="Segoe UI" panose="020B0502040204020203" pitchFamily="34" charset="0"/>
            </a:endParaRPr>
          </a:p>
          <a:p>
            <a:pPr marL="285750" indent="-285750">
              <a:spcBef>
                <a:spcPts val="2200"/>
              </a:spcBef>
              <a:buFont typeface="Wingdings" panose="05000000000000000000" pitchFamily="2" charset="2"/>
              <a:buChar char="§"/>
            </a:pPr>
            <a:r>
              <a:rPr lang="en-US" sz="2000" dirty="0">
                <a:solidFill>
                  <a:schemeClr val="bg1">
                    <a:lumMod val="10000"/>
                  </a:schemeClr>
                </a:solidFill>
                <a:latin typeface="+mj-lt"/>
                <a:cs typeface="Segoe UI" panose="020B0502040204020203" pitchFamily="34" charset="0"/>
              </a:rPr>
              <a:t>We use </a:t>
            </a:r>
            <a:r>
              <a:rPr lang="en-US" sz="2000" b="1" dirty="0">
                <a:solidFill>
                  <a:schemeClr val="bg1">
                    <a:lumMod val="10000"/>
                  </a:schemeClr>
                </a:solidFill>
                <a:latin typeface="+mj-lt"/>
                <a:cs typeface="Segoe UI" panose="020B0502040204020203" pitchFamily="34" charset="0"/>
              </a:rPr>
              <a:t>advanced analytics</a:t>
            </a:r>
            <a:r>
              <a:rPr lang="en-US" sz="2000" dirty="0">
                <a:solidFill>
                  <a:schemeClr val="bg1">
                    <a:lumMod val="10000"/>
                  </a:schemeClr>
                </a:solidFill>
                <a:latin typeface="+mj-lt"/>
                <a:cs typeface="Segoe UI" panose="020B0502040204020203" pitchFamily="34" charset="0"/>
              </a:rPr>
              <a:t>, </a:t>
            </a:r>
            <a:r>
              <a:rPr lang="en-US" sz="2000" b="1" dirty="0">
                <a:solidFill>
                  <a:schemeClr val="bg1">
                    <a:lumMod val="10000"/>
                  </a:schemeClr>
                </a:solidFill>
                <a:latin typeface="+mj-lt"/>
                <a:cs typeface="Segoe UI" panose="020B0502040204020203" pitchFamily="34" charset="0"/>
              </a:rPr>
              <a:t>data management frameworks, machine learning algorithms, and custom applications</a:t>
            </a:r>
            <a:endParaRPr lang="en-US" sz="2000" dirty="0">
              <a:solidFill>
                <a:schemeClr val="bg1">
                  <a:lumMod val="10000"/>
                </a:schemeClr>
              </a:solidFill>
              <a:latin typeface="+mj-lt"/>
              <a:cs typeface="Segoe UI" panose="020B0502040204020203" pitchFamily="34" charset="0"/>
            </a:endParaRPr>
          </a:p>
        </p:txBody>
      </p:sp>
      <p:grpSp>
        <p:nvGrpSpPr>
          <p:cNvPr id="20" name="Group 19">
            <a:extLst>
              <a:ext uri="{FF2B5EF4-FFF2-40B4-BE49-F238E27FC236}">
                <a16:creationId xmlns:a16="http://schemas.microsoft.com/office/drawing/2014/main" id="{C1AA037D-1468-5F4F-A200-C7184CED6FE6}"/>
              </a:ext>
            </a:extLst>
          </p:cNvPr>
          <p:cNvGrpSpPr/>
          <p:nvPr/>
        </p:nvGrpSpPr>
        <p:grpSpPr>
          <a:xfrm>
            <a:off x="3837387" y="1350995"/>
            <a:ext cx="7303364" cy="5001443"/>
            <a:chOff x="795607" y="4163777"/>
            <a:chExt cx="5298795" cy="3498204"/>
          </a:xfrm>
        </p:grpSpPr>
        <p:sp>
          <p:nvSpPr>
            <p:cNvPr id="21" name="Rectangle 20">
              <a:extLst>
                <a:ext uri="{FF2B5EF4-FFF2-40B4-BE49-F238E27FC236}">
                  <a16:creationId xmlns:a16="http://schemas.microsoft.com/office/drawing/2014/main" id="{FF324920-D206-ED4D-9439-2BB3637BC3AE}"/>
                </a:ext>
              </a:extLst>
            </p:cNvPr>
            <p:cNvSpPr/>
            <p:nvPr/>
          </p:nvSpPr>
          <p:spPr>
            <a:xfrm rot="16200000">
              <a:off x="3116721" y="4961381"/>
              <a:ext cx="636231" cy="273492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4D6C59EE-F218-A940-92AF-837E0AE56625}"/>
                </a:ext>
              </a:extLst>
            </p:cNvPr>
            <p:cNvSpPr/>
            <p:nvPr/>
          </p:nvSpPr>
          <p:spPr>
            <a:xfrm rot="16200000">
              <a:off x="3116722" y="5783498"/>
              <a:ext cx="636230" cy="273492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10E0CD75-79AB-154C-A221-D9804DF1DAB9}"/>
                </a:ext>
              </a:extLst>
            </p:cNvPr>
            <p:cNvSpPr/>
            <p:nvPr/>
          </p:nvSpPr>
          <p:spPr>
            <a:xfrm>
              <a:off x="795607" y="4163777"/>
              <a:ext cx="1198163" cy="3305296"/>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0EF11141-B260-514E-8C60-AAE8A27A6003}"/>
                </a:ext>
              </a:extLst>
            </p:cNvPr>
            <p:cNvSpPr/>
            <p:nvPr/>
          </p:nvSpPr>
          <p:spPr>
            <a:xfrm rot="16200000">
              <a:off x="3122774" y="3114433"/>
              <a:ext cx="636231" cy="273492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D6ADCDF2-F264-AE41-93EB-2B22ECA946A0}"/>
                </a:ext>
              </a:extLst>
            </p:cNvPr>
            <p:cNvSpPr/>
            <p:nvPr/>
          </p:nvSpPr>
          <p:spPr>
            <a:xfrm rot="16200000">
              <a:off x="3115300" y="4106897"/>
              <a:ext cx="651182" cy="273492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Picture 25">
              <a:extLst>
                <a:ext uri="{FF2B5EF4-FFF2-40B4-BE49-F238E27FC236}">
                  <a16:creationId xmlns:a16="http://schemas.microsoft.com/office/drawing/2014/main" id="{F00F7A62-1EB7-D84F-880D-ECD47F48A7CD}"/>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06748" y="6648226"/>
              <a:ext cx="387221" cy="160576"/>
            </a:xfrm>
            <a:prstGeom prst="rect">
              <a:avLst/>
            </a:prstGeom>
            <a:noFill/>
            <a:ln w="19050">
              <a:solidFill>
                <a:schemeClr val="tx1"/>
              </a:solidFill>
              <a:miter lim="800000"/>
              <a:headEnd/>
              <a:tailEnd type="none" w="med" len="med"/>
            </a:ln>
            <a:effectLst/>
          </p:spPr>
        </p:pic>
        <p:pic>
          <p:nvPicPr>
            <p:cNvPr id="27" name="Picture 26">
              <a:extLst>
                <a:ext uri="{FF2B5EF4-FFF2-40B4-BE49-F238E27FC236}">
                  <a16:creationId xmlns:a16="http://schemas.microsoft.com/office/drawing/2014/main" id="{302D3911-F0FB-A148-8C90-6B8693F2AE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2926" y="4967464"/>
              <a:ext cx="538586" cy="269250"/>
            </a:xfrm>
            <a:prstGeom prst="rect">
              <a:avLst/>
            </a:prstGeom>
          </p:spPr>
        </p:pic>
        <p:pic>
          <p:nvPicPr>
            <p:cNvPr id="28" name="Picture 27">
              <a:extLst>
                <a:ext uri="{FF2B5EF4-FFF2-40B4-BE49-F238E27FC236}">
                  <a16:creationId xmlns:a16="http://schemas.microsoft.com/office/drawing/2014/main" id="{4CDAC5B5-B045-2F4E-A675-78F29B0EC8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6374" y="6218465"/>
              <a:ext cx="229764" cy="208075"/>
            </a:xfrm>
            <a:prstGeom prst="rect">
              <a:avLst/>
            </a:prstGeom>
          </p:spPr>
        </p:pic>
        <p:pic>
          <p:nvPicPr>
            <p:cNvPr id="29" name="Picture 28">
              <a:extLst>
                <a:ext uri="{FF2B5EF4-FFF2-40B4-BE49-F238E27FC236}">
                  <a16:creationId xmlns:a16="http://schemas.microsoft.com/office/drawing/2014/main" id="{5AB596EA-1F40-D041-8228-072DBF10D1C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8434" y="5812603"/>
              <a:ext cx="343602" cy="160570"/>
            </a:xfrm>
            <a:prstGeom prst="rect">
              <a:avLst/>
            </a:prstGeom>
          </p:spPr>
        </p:pic>
        <p:pic>
          <p:nvPicPr>
            <p:cNvPr id="30" name="Picture 29">
              <a:extLst>
                <a:ext uri="{FF2B5EF4-FFF2-40B4-BE49-F238E27FC236}">
                  <a16:creationId xmlns:a16="http://schemas.microsoft.com/office/drawing/2014/main" id="{3CA81122-6E3E-6747-B8D7-AA6AF6F69B8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59965" y="4650144"/>
              <a:ext cx="491131" cy="125421"/>
            </a:xfrm>
            <a:prstGeom prst="rect">
              <a:avLst/>
            </a:prstGeom>
            <a:ln w="19050">
              <a:noFill/>
            </a:ln>
          </p:spPr>
        </p:pic>
        <p:pic>
          <p:nvPicPr>
            <p:cNvPr id="31" name="Picture 30">
              <a:extLst>
                <a:ext uri="{FF2B5EF4-FFF2-40B4-BE49-F238E27FC236}">
                  <a16:creationId xmlns:a16="http://schemas.microsoft.com/office/drawing/2014/main" id="{A9FFC9D5-77AD-D140-BB71-EAF3573873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50880" y="6229689"/>
              <a:ext cx="375675" cy="127348"/>
            </a:xfrm>
            <a:prstGeom prst="rect">
              <a:avLst/>
            </a:prstGeom>
          </p:spPr>
        </p:pic>
        <p:pic>
          <p:nvPicPr>
            <p:cNvPr id="32" name="Picture 31">
              <a:extLst>
                <a:ext uri="{FF2B5EF4-FFF2-40B4-BE49-F238E27FC236}">
                  <a16:creationId xmlns:a16="http://schemas.microsoft.com/office/drawing/2014/main" id="{11AF615B-4F39-5744-995C-7B6C23AEE30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71997" y="5453674"/>
              <a:ext cx="467777" cy="173590"/>
            </a:xfrm>
            <a:prstGeom prst="rect">
              <a:avLst/>
            </a:prstGeom>
          </p:spPr>
        </p:pic>
        <p:pic>
          <p:nvPicPr>
            <p:cNvPr id="33" name="Picture 32">
              <a:extLst>
                <a:ext uri="{FF2B5EF4-FFF2-40B4-BE49-F238E27FC236}">
                  <a16:creationId xmlns:a16="http://schemas.microsoft.com/office/drawing/2014/main" id="{EE9318B0-953C-A047-814C-1550D54C24C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45690" y="6675592"/>
              <a:ext cx="443379" cy="144793"/>
            </a:xfrm>
            <a:prstGeom prst="rect">
              <a:avLst/>
            </a:prstGeom>
            <a:noFill/>
            <a:ln w="1">
              <a:noFill/>
              <a:miter lim="800000"/>
              <a:headEnd/>
              <a:tailEnd type="none" w="med" len="med"/>
            </a:ln>
            <a:effectLst/>
          </p:spPr>
        </p:pic>
        <p:pic>
          <p:nvPicPr>
            <p:cNvPr id="34" name="irc_mi" descr="http://www.telepresenceoptions.com/assets_c/2013/01/ORACLE-Logo.jpg">
              <a:extLst>
                <a:ext uri="{FF2B5EF4-FFF2-40B4-BE49-F238E27FC236}">
                  <a16:creationId xmlns:a16="http://schemas.microsoft.com/office/drawing/2014/main" id="{04202A60-C672-1D45-BB7D-497E2E4DA280}"/>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577485" y="5499845"/>
              <a:ext cx="280202" cy="118326"/>
            </a:xfrm>
            <a:prstGeom prst="rect">
              <a:avLst/>
            </a:prstGeom>
            <a:noFill/>
          </p:spPr>
        </p:pic>
        <p:pic>
          <p:nvPicPr>
            <p:cNvPr id="35" name="Picture 34">
              <a:extLst>
                <a:ext uri="{FF2B5EF4-FFF2-40B4-BE49-F238E27FC236}">
                  <a16:creationId xmlns:a16="http://schemas.microsoft.com/office/drawing/2014/main" id="{C3897BFD-0538-B147-BED6-D5D942C10D92}"/>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507299" y="4282741"/>
              <a:ext cx="391276" cy="139817"/>
            </a:xfrm>
            <a:prstGeom prst="rect">
              <a:avLst/>
            </a:prstGeom>
            <a:noFill/>
            <a:ln w="1">
              <a:noFill/>
              <a:miter lim="800000"/>
              <a:headEnd/>
              <a:tailEnd type="none" w="med" len="med"/>
            </a:ln>
            <a:effectLst/>
          </p:spPr>
        </p:pic>
        <p:pic>
          <p:nvPicPr>
            <p:cNvPr id="36" name="Picture 4" descr="http://www.warwickeconomicssociety.com/wp-content/uploads/2011/08/ibm-logo_small.jpg">
              <a:extLst>
                <a:ext uri="{FF2B5EF4-FFF2-40B4-BE49-F238E27FC236}">
                  <a16:creationId xmlns:a16="http://schemas.microsoft.com/office/drawing/2014/main" id="{0D30E4B5-9207-8543-8132-AC9F10FF69E3}"/>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547406" y="5053660"/>
              <a:ext cx="279150" cy="11566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03604AA3-0689-0740-9373-C4769F9F415A}"/>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22169" y="7006890"/>
              <a:ext cx="461128" cy="132083"/>
            </a:xfrm>
            <a:prstGeom prst="rect">
              <a:avLst/>
            </a:prstGeom>
          </p:spPr>
        </p:pic>
        <p:pic>
          <p:nvPicPr>
            <p:cNvPr id="38" name="Picture 37">
              <a:extLst>
                <a:ext uri="{FF2B5EF4-FFF2-40B4-BE49-F238E27FC236}">
                  <a16:creationId xmlns:a16="http://schemas.microsoft.com/office/drawing/2014/main" id="{5CB09E1C-2037-C749-867F-77035BB82B8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2925" y="4667671"/>
              <a:ext cx="393948" cy="90797"/>
            </a:xfrm>
            <a:prstGeom prst="rect">
              <a:avLst/>
            </a:prstGeom>
          </p:spPr>
        </p:pic>
        <p:pic>
          <p:nvPicPr>
            <p:cNvPr id="39" name="Picture 38">
              <a:extLst>
                <a:ext uri="{FF2B5EF4-FFF2-40B4-BE49-F238E27FC236}">
                  <a16:creationId xmlns:a16="http://schemas.microsoft.com/office/drawing/2014/main" id="{95AFE696-95CD-4E41-AA2E-C48B524627C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513011" y="5876168"/>
              <a:ext cx="313545" cy="120022"/>
            </a:xfrm>
            <a:prstGeom prst="rect">
              <a:avLst/>
            </a:prstGeom>
            <a:noFill/>
            <a:ln w="1">
              <a:noFill/>
              <a:miter lim="800000"/>
              <a:headEnd/>
              <a:tailEnd type="none" w="med" len="med"/>
            </a:ln>
            <a:effectLst/>
          </p:spPr>
        </p:pic>
        <p:pic>
          <p:nvPicPr>
            <p:cNvPr id="40" name="Picture 39">
              <a:extLst>
                <a:ext uri="{FF2B5EF4-FFF2-40B4-BE49-F238E27FC236}">
                  <a16:creationId xmlns:a16="http://schemas.microsoft.com/office/drawing/2014/main" id="{0D61E3DB-0840-774F-824E-498F298CFAAF}"/>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782560" y="4447633"/>
              <a:ext cx="457118" cy="102048"/>
            </a:xfrm>
            <a:prstGeom prst="rect">
              <a:avLst/>
            </a:prstGeom>
            <a:noFill/>
            <a:ln w="1">
              <a:noFill/>
              <a:miter lim="800000"/>
              <a:headEnd/>
              <a:tailEnd type="none" w="med" len="med"/>
            </a:ln>
            <a:effectLst/>
          </p:spPr>
        </p:pic>
        <p:pic>
          <p:nvPicPr>
            <p:cNvPr id="41" name="Picture 40">
              <a:extLst>
                <a:ext uri="{FF2B5EF4-FFF2-40B4-BE49-F238E27FC236}">
                  <a16:creationId xmlns:a16="http://schemas.microsoft.com/office/drawing/2014/main" id="{968B9C5D-D1F4-EF4E-B71F-1F911728F9E6}"/>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418225" y="4366125"/>
              <a:ext cx="282415" cy="193854"/>
            </a:xfrm>
            <a:prstGeom prst="rect">
              <a:avLst/>
            </a:prstGeom>
          </p:spPr>
        </p:pic>
        <p:pic>
          <p:nvPicPr>
            <p:cNvPr id="42" name="Picture 41">
              <a:extLst>
                <a:ext uri="{FF2B5EF4-FFF2-40B4-BE49-F238E27FC236}">
                  <a16:creationId xmlns:a16="http://schemas.microsoft.com/office/drawing/2014/main" id="{018AA135-C4AC-4A4A-BC63-9B6018D87385}"/>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104450" y="4402579"/>
              <a:ext cx="709878" cy="215950"/>
            </a:xfrm>
            <a:prstGeom prst="rect">
              <a:avLst/>
            </a:prstGeom>
          </p:spPr>
        </p:pic>
        <p:pic>
          <p:nvPicPr>
            <p:cNvPr id="43" name="Picture 42">
              <a:extLst>
                <a:ext uri="{FF2B5EF4-FFF2-40B4-BE49-F238E27FC236}">
                  <a16:creationId xmlns:a16="http://schemas.microsoft.com/office/drawing/2014/main" id="{1E54AA82-DE21-3E4E-A7B9-588A0548054F}"/>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817433" y="4335735"/>
              <a:ext cx="463397" cy="208507"/>
            </a:xfrm>
            <a:prstGeom prst="rect">
              <a:avLst/>
            </a:prstGeom>
          </p:spPr>
        </p:pic>
        <p:pic>
          <p:nvPicPr>
            <p:cNvPr id="44" name="Picture 43">
              <a:extLst>
                <a:ext uri="{FF2B5EF4-FFF2-40B4-BE49-F238E27FC236}">
                  <a16:creationId xmlns:a16="http://schemas.microsoft.com/office/drawing/2014/main" id="{C66CB613-0A69-7C4A-B75B-326CD8F455A8}"/>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368288" y="4345507"/>
              <a:ext cx="271278" cy="248975"/>
            </a:xfrm>
            <a:prstGeom prst="rect">
              <a:avLst/>
            </a:prstGeom>
          </p:spPr>
        </p:pic>
        <p:pic>
          <p:nvPicPr>
            <p:cNvPr id="45" name="Picture 44">
              <a:extLst>
                <a:ext uri="{FF2B5EF4-FFF2-40B4-BE49-F238E27FC236}">
                  <a16:creationId xmlns:a16="http://schemas.microsoft.com/office/drawing/2014/main" id="{E046F8E6-E6E0-AB41-90D3-31A3819AB2D1}"/>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266691" y="5270643"/>
              <a:ext cx="564541" cy="194449"/>
            </a:xfrm>
            <a:prstGeom prst="rect">
              <a:avLst/>
            </a:prstGeom>
            <a:noFill/>
            <a:ln w="1">
              <a:noFill/>
              <a:miter lim="800000"/>
              <a:headEnd/>
              <a:tailEnd type="none" w="med" len="med"/>
            </a:ln>
            <a:effectLst/>
          </p:spPr>
        </p:pic>
        <p:pic>
          <p:nvPicPr>
            <p:cNvPr id="46" name="Picture 45">
              <a:extLst>
                <a:ext uri="{FF2B5EF4-FFF2-40B4-BE49-F238E27FC236}">
                  <a16:creationId xmlns:a16="http://schemas.microsoft.com/office/drawing/2014/main" id="{EDFBB0C0-F761-7C4E-B1D9-7CD806B36391}"/>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3877452" y="5314503"/>
              <a:ext cx="396285" cy="84178"/>
            </a:xfrm>
            <a:prstGeom prst="rect">
              <a:avLst/>
            </a:prstGeom>
            <a:noFill/>
            <a:ln w="1">
              <a:noFill/>
              <a:miter lim="800000"/>
              <a:headEnd/>
              <a:tailEnd type="none" w="med" len="med"/>
            </a:ln>
            <a:effectLst/>
          </p:spPr>
        </p:pic>
        <p:pic>
          <p:nvPicPr>
            <p:cNvPr id="47" name="Picture 46">
              <a:extLst>
                <a:ext uri="{FF2B5EF4-FFF2-40B4-BE49-F238E27FC236}">
                  <a16:creationId xmlns:a16="http://schemas.microsoft.com/office/drawing/2014/main" id="{9C15B47F-F42B-394F-B491-19A77B675212}"/>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4449708" y="5261477"/>
              <a:ext cx="193068" cy="203615"/>
            </a:xfrm>
            <a:prstGeom prst="rect">
              <a:avLst/>
            </a:prstGeom>
          </p:spPr>
        </p:pic>
        <p:pic>
          <p:nvPicPr>
            <p:cNvPr id="48" name="Picture 47">
              <a:extLst>
                <a:ext uri="{FF2B5EF4-FFF2-40B4-BE49-F238E27FC236}">
                  <a16:creationId xmlns:a16="http://schemas.microsoft.com/office/drawing/2014/main" id="{0FA93B34-F53B-914E-A813-DBC83F4393E9}"/>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3485"/>
            <a:stretch/>
          </p:blipFill>
          <p:spPr>
            <a:xfrm>
              <a:off x="2527598" y="5557762"/>
              <a:ext cx="721489" cy="132797"/>
            </a:xfrm>
            <a:prstGeom prst="rect">
              <a:avLst/>
            </a:prstGeom>
          </p:spPr>
        </p:pic>
        <p:pic>
          <p:nvPicPr>
            <p:cNvPr id="49" name="Picture 48">
              <a:extLst>
                <a:ext uri="{FF2B5EF4-FFF2-40B4-BE49-F238E27FC236}">
                  <a16:creationId xmlns:a16="http://schemas.microsoft.com/office/drawing/2014/main" id="{D2452C78-45B0-004A-869E-D2C5C501D75B}"/>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3181566" y="5218400"/>
              <a:ext cx="322361" cy="264794"/>
            </a:xfrm>
            <a:prstGeom prst="rect">
              <a:avLst/>
            </a:prstGeom>
          </p:spPr>
        </p:pic>
        <p:pic>
          <p:nvPicPr>
            <p:cNvPr id="50" name="Picture 49">
              <a:extLst>
                <a:ext uri="{FF2B5EF4-FFF2-40B4-BE49-F238E27FC236}">
                  <a16:creationId xmlns:a16="http://schemas.microsoft.com/office/drawing/2014/main" id="{3872CD46-BCA1-7944-BC48-46B521DD3B69}"/>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3966199" y="5534595"/>
              <a:ext cx="197926" cy="162173"/>
            </a:xfrm>
            <a:prstGeom prst="rect">
              <a:avLst/>
            </a:prstGeom>
          </p:spPr>
        </p:pic>
        <p:pic>
          <p:nvPicPr>
            <p:cNvPr id="51" name="Picture 50">
              <a:extLst>
                <a:ext uri="{FF2B5EF4-FFF2-40B4-BE49-F238E27FC236}">
                  <a16:creationId xmlns:a16="http://schemas.microsoft.com/office/drawing/2014/main" id="{DC181DFF-555D-0444-8C38-EE0553F23A75}"/>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3211376" y="6195569"/>
              <a:ext cx="331793" cy="300473"/>
            </a:xfrm>
            <a:prstGeom prst="rect">
              <a:avLst/>
            </a:prstGeom>
          </p:spPr>
        </p:pic>
        <p:pic>
          <p:nvPicPr>
            <p:cNvPr id="52" name="Picture 51">
              <a:extLst>
                <a:ext uri="{FF2B5EF4-FFF2-40B4-BE49-F238E27FC236}">
                  <a16:creationId xmlns:a16="http://schemas.microsoft.com/office/drawing/2014/main" id="{0603EA3F-F5B6-7F4D-960F-AEBF1AD25291}"/>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3541401" y="6242773"/>
              <a:ext cx="453072" cy="241686"/>
            </a:xfrm>
            <a:prstGeom prst="rect">
              <a:avLst/>
            </a:prstGeom>
          </p:spPr>
        </p:pic>
        <p:pic>
          <p:nvPicPr>
            <p:cNvPr id="53" name="Picture 52">
              <a:extLst>
                <a:ext uri="{FF2B5EF4-FFF2-40B4-BE49-F238E27FC236}">
                  <a16:creationId xmlns:a16="http://schemas.microsoft.com/office/drawing/2014/main" id="{6C9DF2A4-A024-A048-9F31-5F22586F63F1}"/>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4475353" y="6275218"/>
              <a:ext cx="192676" cy="174489"/>
            </a:xfrm>
            <a:prstGeom prst="rect">
              <a:avLst/>
            </a:prstGeom>
          </p:spPr>
        </p:pic>
        <p:pic>
          <p:nvPicPr>
            <p:cNvPr id="54" name="Picture 53">
              <a:extLst>
                <a:ext uri="{FF2B5EF4-FFF2-40B4-BE49-F238E27FC236}">
                  <a16:creationId xmlns:a16="http://schemas.microsoft.com/office/drawing/2014/main" id="{FC699250-B2A4-194F-8DFC-06905B671A32}"/>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4011119" y="6201823"/>
              <a:ext cx="248140" cy="224717"/>
            </a:xfrm>
            <a:prstGeom prst="rect">
              <a:avLst/>
            </a:prstGeom>
          </p:spPr>
        </p:pic>
        <p:pic>
          <p:nvPicPr>
            <p:cNvPr id="55" name="Picture 54">
              <a:extLst>
                <a:ext uri="{FF2B5EF4-FFF2-40B4-BE49-F238E27FC236}">
                  <a16:creationId xmlns:a16="http://schemas.microsoft.com/office/drawing/2014/main" id="{76D95ABB-0F1F-6C46-B4A6-99923D7B5D7A}"/>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2151421" y="6206497"/>
              <a:ext cx="403209" cy="345897"/>
            </a:xfrm>
            <a:prstGeom prst="rect">
              <a:avLst/>
            </a:prstGeom>
          </p:spPr>
        </p:pic>
        <p:pic>
          <p:nvPicPr>
            <p:cNvPr id="56" name="Picture 8" descr="Ionic (mobile app framework) - Wikipedia">
              <a:extLst>
                <a:ext uri="{FF2B5EF4-FFF2-40B4-BE49-F238E27FC236}">
                  <a16:creationId xmlns:a16="http://schemas.microsoft.com/office/drawing/2014/main" id="{62112240-B84D-384B-8A08-E328611FDD21}"/>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689982" y="6311941"/>
              <a:ext cx="420666" cy="14130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Amazon Web Services - Wikipedia">
              <a:extLst>
                <a:ext uri="{FF2B5EF4-FFF2-40B4-BE49-F238E27FC236}">
                  <a16:creationId xmlns:a16="http://schemas.microsoft.com/office/drawing/2014/main" id="{93F477A4-8700-7548-B1CA-E4613B6BC793}"/>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272201" y="5512409"/>
              <a:ext cx="353695" cy="21221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Download Microsoft Azure (Windows Azure) Logo in SVG Vector or PNG File  Format - Logo.wine">
              <a:extLst>
                <a:ext uri="{FF2B5EF4-FFF2-40B4-BE49-F238E27FC236}">
                  <a16:creationId xmlns:a16="http://schemas.microsoft.com/office/drawing/2014/main" id="{593F79B7-4AA5-2346-9DE7-E169BD54245B}"/>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204028" y="6808803"/>
              <a:ext cx="493492" cy="32899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How to Run Trading Algorithms on Google Cloud Platform in 6 Easy Steps">
              <a:extLst>
                <a:ext uri="{FF2B5EF4-FFF2-40B4-BE49-F238E27FC236}">
                  <a16:creationId xmlns:a16="http://schemas.microsoft.com/office/drawing/2014/main" id="{172A79A9-007F-B343-A1FD-4FC65FC0227C}"/>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179832" y="6380205"/>
              <a:ext cx="525032" cy="32434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OCI SDK for .NET is now available for your .NET Projects | IaaS Blog - Oracle  Cloud Infrastructure News">
              <a:extLst>
                <a:ext uri="{FF2B5EF4-FFF2-40B4-BE49-F238E27FC236}">
                  <a16:creationId xmlns:a16="http://schemas.microsoft.com/office/drawing/2014/main" id="{036263E7-C3A6-B640-BCC4-B580A5E5BF75}"/>
                </a:ext>
              </a:extLst>
            </p:cNvPr>
            <p:cNvPicPr>
              <a:picLocks noChangeAspect="1" noChangeArrowheads="1"/>
            </p:cNvPicPr>
            <p:nvPr/>
          </p:nvPicPr>
          <p:blipFill>
            <a:blip r:embed="rId36">
              <a:grayscl/>
              <a:extLst>
                <a:ext uri="{BEBA8EAE-BF5A-486C-A8C5-ECC9F3942E4B}">
                  <a14:imgProps xmlns:a14="http://schemas.microsoft.com/office/drawing/2010/main">
                    <a14:imgLayer r:embed="rId37">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5195492" y="5087838"/>
              <a:ext cx="469056" cy="28458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descr="NetApp Cloud (@NetAppCloud) | Twitter">
              <a:extLst>
                <a:ext uri="{FF2B5EF4-FFF2-40B4-BE49-F238E27FC236}">
                  <a16:creationId xmlns:a16="http://schemas.microsoft.com/office/drawing/2014/main" id="{ECEE59BE-FA57-3F4F-9179-2AC5AC06D1CC}"/>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5246316" y="4248802"/>
              <a:ext cx="347512" cy="34751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4" descr="IBM Cloud - Wikipedia">
              <a:extLst>
                <a:ext uri="{FF2B5EF4-FFF2-40B4-BE49-F238E27FC236}">
                  <a16:creationId xmlns:a16="http://schemas.microsoft.com/office/drawing/2014/main" id="{B894247D-2ED3-5643-BF99-3472703210EB}"/>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5226552" y="5876524"/>
              <a:ext cx="445679" cy="31834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0" descr="Rackspace cloud Logos">
              <a:extLst>
                <a:ext uri="{FF2B5EF4-FFF2-40B4-BE49-F238E27FC236}">
                  <a16:creationId xmlns:a16="http://schemas.microsoft.com/office/drawing/2014/main" id="{AE5D7780-44C3-C244-AD49-662AAC4026F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130898" y="4758944"/>
              <a:ext cx="634119" cy="138631"/>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About Cloudscape - Simplifying Complex Platform Integrations">
              <a:extLst>
                <a:ext uri="{FF2B5EF4-FFF2-40B4-BE49-F238E27FC236}">
                  <a16:creationId xmlns:a16="http://schemas.microsoft.com/office/drawing/2014/main" id="{EFD2F4DF-2148-A84B-B04A-1BDFCA4F2D2F}"/>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239134" y="7206400"/>
              <a:ext cx="696172" cy="10985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The Leader in Cloud Monitoring | Dynatrace">
              <a:extLst>
                <a:ext uri="{FF2B5EF4-FFF2-40B4-BE49-F238E27FC236}">
                  <a16:creationId xmlns:a16="http://schemas.microsoft.com/office/drawing/2014/main" id="{29E59581-FD6E-ED48-B489-0B4DC501493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078972" y="7160064"/>
              <a:ext cx="525379" cy="14728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 descr="Tech Field Day 14 Primer: Turbonomic - Matt That IT Guy">
              <a:extLst>
                <a:ext uri="{FF2B5EF4-FFF2-40B4-BE49-F238E27FC236}">
                  <a16:creationId xmlns:a16="http://schemas.microsoft.com/office/drawing/2014/main" id="{464E19B7-1B1A-C143-92D8-63646180A509}"/>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3271734" y="7137308"/>
              <a:ext cx="441266" cy="23573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Cisco has acquired AppDynamics Inc - Cisco">
              <a:extLst>
                <a:ext uri="{FF2B5EF4-FFF2-40B4-BE49-F238E27FC236}">
                  <a16:creationId xmlns:a16="http://schemas.microsoft.com/office/drawing/2014/main" id="{53F73D60-CAD6-0840-B090-7B88B13ED7CC}"/>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4007228" y="6867866"/>
              <a:ext cx="723982" cy="301659"/>
            </a:xfrm>
            <a:prstGeom prst="rect">
              <a:avLst/>
            </a:prstGeom>
            <a:noFill/>
            <a:ln w="12700">
              <a:noFill/>
            </a:ln>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AD9A337E-CE0A-DD45-AAD1-31D5C530F4EF}"/>
                </a:ext>
              </a:extLst>
            </p:cNvPr>
            <p:cNvPicPr>
              <a:picLocks noChangeAspect="1"/>
            </p:cNvPicPr>
            <p:nvPr/>
          </p:nvPicPr>
          <p:blipFill>
            <a:blip r:embed="rId45"/>
            <a:stretch>
              <a:fillRect/>
            </a:stretch>
          </p:blipFill>
          <p:spPr>
            <a:xfrm>
              <a:off x="2183833" y="6919255"/>
              <a:ext cx="198823" cy="198823"/>
            </a:xfrm>
            <a:prstGeom prst="rect">
              <a:avLst/>
            </a:prstGeom>
          </p:spPr>
        </p:pic>
        <p:pic>
          <p:nvPicPr>
            <p:cNvPr id="69" name="Picture 26" descr="Dive into ElasticSearch. This article will help you to get 95%… | by Ihor  Kopanev | Towards Data Science">
              <a:extLst>
                <a:ext uri="{FF2B5EF4-FFF2-40B4-BE49-F238E27FC236}">
                  <a16:creationId xmlns:a16="http://schemas.microsoft.com/office/drawing/2014/main" id="{3AED2197-A57F-3342-8C51-818C6F3F7FC8}"/>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3541401" y="6894986"/>
              <a:ext cx="421720" cy="21948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30" descr="Kibana 7.x — Options to customize, filter, share and save | by Sandeep  Madamanchi | ITNEXT">
              <a:extLst>
                <a:ext uri="{FF2B5EF4-FFF2-40B4-BE49-F238E27FC236}">
                  <a16:creationId xmlns:a16="http://schemas.microsoft.com/office/drawing/2014/main" id="{2A9940C2-2B74-7549-9D39-AFA7A54AD421}"/>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2644870" y="6911150"/>
              <a:ext cx="302989" cy="18753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32" descr="Splunk is starting to get that it is a business platform, not just a tool  for techies">
              <a:extLst>
                <a:ext uri="{FF2B5EF4-FFF2-40B4-BE49-F238E27FC236}">
                  <a16:creationId xmlns:a16="http://schemas.microsoft.com/office/drawing/2014/main" id="{194BF959-72CD-CD49-B604-6DD05B654DCA}"/>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3074295" y="6928391"/>
              <a:ext cx="349584" cy="21412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4" descr="What are some advantages and disadvantages of using CloudWatch for  monitoring? - Quora">
              <a:extLst>
                <a:ext uri="{FF2B5EF4-FFF2-40B4-BE49-F238E27FC236}">
                  <a16:creationId xmlns:a16="http://schemas.microsoft.com/office/drawing/2014/main" id="{E0C874E9-7F78-8C44-BEF0-27959E390D99}"/>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917633" y="4258999"/>
              <a:ext cx="271818" cy="271818"/>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354B932E-45B7-DE46-BD6B-F13A4F1CD8E0}"/>
                </a:ext>
              </a:extLst>
            </p:cNvPr>
            <p:cNvSpPr txBox="1"/>
            <p:nvPr/>
          </p:nvSpPr>
          <p:spPr>
            <a:xfrm>
              <a:off x="2669644" y="4709434"/>
              <a:ext cx="1498086" cy="193097"/>
            </a:xfrm>
            <a:prstGeom prst="rect">
              <a:avLst/>
            </a:prstGeom>
            <a:solidFill>
              <a:srgbClr val="344077"/>
            </a:solidFill>
          </p:spPr>
          <p:txBody>
            <a:bodyPr wrap="square" rtlCol="0" anchor="ctr">
              <a:noAutofit/>
            </a:bodyPr>
            <a:lstStyle/>
            <a:p>
              <a:pPr algn="ctr" defTabSz="457200">
                <a:spcBef>
                  <a:spcPts val="1200"/>
                </a:spcBef>
              </a:pPr>
              <a:r>
                <a:rPr lang="en-IN" sz="800" dirty="0">
                  <a:solidFill>
                    <a:schemeClr val="bg1"/>
                  </a:solidFill>
                  <a:latin typeface="Arial" panose="020B0604020202020204" pitchFamily="34" charset="0"/>
                  <a:cs typeface="Arial" panose="020B0604020202020204" pitchFamily="34" charset="0"/>
                </a:rPr>
                <a:t>Analysis and Modelling</a:t>
              </a:r>
              <a:endParaRPr lang="en-GB" sz="800" dirty="0" err="1">
                <a:solidFill>
                  <a:schemeClr val="bg1"/>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84978EB8-626F-8047-BD2B-2AFA54AC5109}"/>
                </a:ext>
              </a:extLst>
            </p:cNvPr>
            <p:cNvSpPr/>
            <p:nvPr/>
          </p:nvSpPr>
          <p:spPr>
            <a:xfrm>
              <a:off x="4896239" y="4163777"/>
              <a:ext cx="1198163" cy="3305296"/>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TextBox 74">
              <a:extLst>
                <a:ext uri="{FF2B5EF4-FFF2-40B4-BE49-F238E27FC236}">
                  <a16:creationId xmlns:a16="http://schemas.microsoft.com/office/drawing/2014/main" id="{1911819B-779F-4140-8F38-27916E0FAAE3}"/>
                </a:ext>
              </a:extLst>
            </p:cNvPr>
            <p:cNvSpPr txBox="1"/>
            <p:nvPr/>
          </p:nvSpPr>
          <p:spPr>
            <a:xfrm>
              <a:off x="2925415" y="5729831"/>
              <a:ext cx="1030950" cy="188021"/>
            </a:xfrm>
            <a:prstGeom prst="rect">
              <a:avLst/>
            </a:prstGeom>
            <a:solidFill>
              <a:srgbClr val="344077"/>
            </a:solidFill>
          </p:spPr>
          <p:txBody>
            <a:bodyPr wrap="square" rtlCol="0" anchor="ctr">
              <a:noAutofit/>
            </a:bodyPr>
            <a:lstStyle/>
            <a:p>
              <a:pPr algn="ctr" defTabSz="457200">
                <a:spcBef>
                  <a:spcPts val="1200"/>
                </a:spcBef>
              </a:pPr>
              <a:r>
                <a:rPr lang="en-IN" sz="800" dirty="0">
                  <a:solidFill>
                    <a:schemeClr val="bg1"/>
                  </a:solidFill>
                  <a:latin typeface="Arial" panose="020B0604020202020204" pitchFamily="34" charset="0"/>
                  <a:cs typeface="Arial" panose="020B0604020202020204" pitchFamily="34" charset="0"/>
                </a:rPr>
                <a:t>Visualization</a:t>
              </a:r>
              <a:endParaRPr lang="en-GB" sz="800" dirty="0" err="1">
                <a:solidFill>
                  <a:schemeClr val="bg1"/>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FE5E0D69-55E6-C946-9DCE-F692BC4BE6C0}"/>
                </a:ext>
              </a:extLst>
            </p:cNvPr>
            <p:cNvSpPr txBox="1"/>
            <p:nvPr/>
          </p:nvSpPr>
          <p:spPr>
            <a:xfrm>
              <a:off x="2496952" y="7389246"/>
              <a:ext cx="1921273" cy="187539"/>
            </a:xfrm>
            <a:prstGeom prst="rect">
              <a:avLst/>
            </a:prstGeom>
            <a:solidFill>
              <a:srgbClr val="344077"/>
            </a:solidFill>
          </p:spPr>
          <p:txBody>
            <a:bodyPr wrap="square" rtlCol="0" anchor="ctr">
              <a:noAutofit/>
            </a:bodyPr>
            <a:lstStyle/>
            <a:p>
              <a:pPr algn="ctr" defTabSz="457200">
                <a:spcBef>
                  <a:spcPts val="1200"/>
                </a:spcBef>
              </a:pPr>
              <a:r>
                <a:rPr lang="en-IN" sz="800" dirty="0">
                  <a:solidFill>
                    <a:schemeClr val="bg1"/>
                  </a:solidFill>
                  <a:latin typeface="Arial" panose="020B0604020202020204" pitchFamily="34" charset="0"/>
                  <a:cs typeface="Arial" panose="020B0604020202020204" pitchFamily="34" charset="0"/>
                </a:rPr>
                <a:t>Cloud Management &amp; Orchestration</a:t>
              </a:r>
              <a:endParaRPr lang="en-US" sz="800" dirty="0">
                <a:solidFill>
                  <a:schemeClr val="bg1"/>
                </a:solidFill>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3D2E5603-C05E-6648-B83C-D262545AAC30}"/>
                </a:ext>
              </a:extLst>
            </p:cNvPr>
            <p:cNvSpPr txBox="1"/>
            <p:nvPr/>
          </p:nvSpPr>
          <p:spPr>
            <a:xfrm>
              <a:off x="2704706" y="6568464"/>
              <a:ext cx="1447963" cy="194387"/>
            </a:xfrm>
            <a:prstGeom prst="rect">
              <a:avLst/>
            </a:prstGeom>
            <a:solidFill>
              <a:srgbClr val="344077"/>
            </a:solidFill>
          </p:spPr>
          <p:txBody>
            <a:bodyPr wrap="square" rtlCol="0" anchor="ctr">
              <a:noAutofit/>
            </a:bodyPr>
            <a:lstStyle/>
            <a:p>
              <a:pPr algn="ctr" defTabSz="457200">
                <a:spcBef>
                  <a:spcPts val="1200"/>
                </a:spcBef>
              </a:pPr>
              <a:r>
                <a:rPr lang="en-IN" sz="800" dirty="0">
                  <a:solidFill>
                    <a:schemeClr val="bg1"/>
                  </a:solidFill>
                  <a:latin typeface="Arial" panose="020B0604020202020204" pitchFamily="34" charset="0"/>
                  <a:cs typeface="Arial" panose="020B0604020202020204" pitchFamily="34" charset="0"/>
                </a:rPr>
                <a:t>Application Development</a:t>
              </a:r>
              <a:endParaRPr lang="en-GB" sz="800" dirty="0" err="1">
                <a:solidFill>
                  <a:schemeClr val="bg1"/>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921837D7-44F6-D043-9AD1-B38A0AA8F703}"/>
                </a:ext>
              </a:extLst>
            </p:cNvPr>
            <p:cNvSpPr txBox="1"/>
            <p:nvPr/>
          </p:nvSpPr>
          <p:spPr>
            <a:xfrm>
              <a:off x="5003325" y="7302860"/>
              <a:ext cx="968852" cy="341141"/>
            </a:xfrm>
            <a:prstGeom prst="rect">
              <a:avLst/>
            </a:prstGeom>
            <a:solidFill>
              <a:srgbClr val="344077"/>
            </a:solidFill>
          </p:spPr>
          <p:txBody>
            <a:bodyPr wrap="square" rtlCol="0" anchor="ctr">
              <a:noAutofit/>
            </a:bodyPr>
            <a:lstStyle/>
            <a:p>
              <a:pPr algn="ctr" defTabSz="457200">
                <a:spcBef>
                  <a:spcPts val="1200"/>
                </a:spcBef>
              </a:pPr>
              <a:r>
                <a:rPr lang="en-IN" sz="800" dirty="0">
                  <a:solidFill>
                    <a:schemeClr val="bg1"/>
                  </a:solidFill>
                  <a:latin typeface="Arial" panose="020B0604020202020204" pitchFamily="34" charset="0"/>
                  <a:cs typeface="Arial" panose="020B0604020202020204" pitchFamily="34" charset="0"/>
                </a:rPr>
                <a:t>Cloud Infrastructure</a:t>
              </a:r>
              <a:endParaRPr lang="en-GB" sz="800" dirty="0" err="1">
                <a:solidFill>
                  <a:schemeClr val="bg1"/>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459F6424-4038-3B4A-8257-AF878C98B6D7}"/>
                </a:ext>
              </a:extLst>
            </p:cNvPr>
            <p:cNvSpPr txBox="1"/>
            <p:nvPr/>
          </p:nvSpPr>
          <p:spPr>
            <a:xfrm>
              <a:off x="937734" y="7327259"/>
              <a:ext cx="911701" cy="334722"/>
            </a:xfrm>
            <a:prstGeom prst="rect">
              <a:avLst/>
            </a:prstGeom>
            <a:solidFill>
              <a:srgbClr val="344077"/>
            </a:solidFill>
          </p:spPr>
          <p:txBody>
            <a:bodyPr wrap="square" rtlCol="0" anchor="ctr">
              <a:noAutofit/>
            </a:bodyPr>
            <a:lstStyle/>
            <a:p>
              <a:pPr algn="ctr" defTabSz="457200">
                <a:spcBef>
                  <a:spcPts val="1200"/>
                </a:spcBef>
              </a:pPr>
              <a:r>
                <a:rPr lang="en-IN" sz="800" dirty="0">
                  <a:solidFill>
                    <a:schemeClr val="bg1"/>
                  </a:solidFill>
                  <a:latin typeface="Arial" panose="020B0604020202020204" pitchFamily="34" charset="0"/>
                  <a:cs typeface="Arial" panose="020B0604020202020204" pitchFamily="34" charset="0"/>
                </a:rPr>
                <a:t>Data Management</a:t>
              </a:r>
              <a:endParaRPr lang="en-GB" sz="8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26322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87065-473F-4B37-90AC-B919E338B1DF}"/>
              </a:ext>
            </a:extLst>
          </p:cNvPr>
          <p:cNvSpPr>
            <a:spLocks noGrp="1"/>
          </p:cNvSpPr>
          <p:nvPr>
            <p:ph type="title"/>
          </p:nvPr>
        </p:nvSpPr>
        <p:spPr>
          <a:xfrm>
            <a:off x="609600" y="124121"/>
            <a:ext cx="10998200" cy="696315"/>
          </a:xfrm>
        </p:spPr>
        <p:txBody>
          <a:bodyPr/>
          <a:lstStyle/>
          <a:p>
            <a:r>
              <a:rPr lang="en-US" dirty="0">
                <a:solidFill>
                  <a:srgbClr val="D70038"/>
                </a:solidFill>
              </a:rPr>
              <a:t>Our products are focused on reducing friction for lenders</a:t>
            </a:r>
          </a:p>
        </p:txBody>
      </p:sp>
      <p:sp>
        <p:nvSpPr>
          <p:cNvPr id="3" name="Slide Number Placeholder 2">
            <a:extLst>
              <a:ext uri="{FF2B5EF4-FFF2-40B4-BE49-F238E27FC236}">
                <a16:creationId xmlns:a16="http://schemas.microsoft.com/office/drawing/2014/main" id="{01835ACD-3549-4C3E-A447-62F755FD022B}"/>
              </a:ext>
            </a:extLst>
          </p:cNvPr>
          <p:cNvSpPr>
            <a:spLocks noGrp="1"/>
          </p:cNvSpPr>
          <p:nvPr>
            <p:ph type="sldNum" sz="quarter" idx="4"/>
          </p:nvPr>
        </p:nvSpPr>
        <p:spPr/>
        <p:txBody>
          <a:bodyPr/>
          <a:lstStyle/>
          <a:p>
            <a:pPr defTabSz="457200"/>
            <a:fld id="{33B05D85-7E10-5D4F-A75C-A55D283254FB}" type="slidenum">
              <a:rPr lang="en-US" smtClean="0"/>
              <a:pPr defTabSz="457200"/>
              <a:t>9</a:t>
            </a:fld>
            <a:endParaRPr lang="en-US" dirty="0"/>
          </a:p>
        </p:txBody>
      </p:sp>
      <p:cxnSp>
        <p:nvCxnSpPr>
          <p:cNvPr id="5" name="Straight Connector 4">
            <a:extLst>
              <a:ext uri="{FF2B5EF4-FFF2-40B4-BE49-F238E27FC236}">
                <a16:creationId xmlns:a16="http://schemas.microsoft.com/office/drawing/2014/main" id="{F9A77E1F-B91E-435E-92C7-669DD01AAAD6}"/>
              </a:ext>
            </a:extLst>
          </p:cNvPr>
          <p:cNvCxnSpPr/>
          <p:nvPr/>
        </p:nvCxnSpPr>
        <p:spPr>
          <a:xfrm flipH="1">
            <a:off x="3228024" y="3818993"/>
            <a:ext cx="562" cy="514611"/>
          </a:xfrm>
          <a:prstGeom prst="line">
            <a:avLst/>
          </a:prstGeom>
          <a:ln w="28575">
            <a:solidFill>
              <a:srgbClr val="51C3F1"/>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4B5C313-6A3F-4B4D-B96D-742A23D56ED7}"/>
              </a:ext>
            </a:extLst>
          </p:cNvPr>
          <p:cNvCxnSpPr>
            <a:cxnSpLocks/>
          </p:cNvCxnSpPr>
          <p:nvPr/>
        </p:nvCxnSpPr>
        <p:spPr>
          <a:xfrm flipH="1">
            <a:off x="8995536" y="3812489"/>
            <a:ext cx="562" cy="514611"/>
          </a:xfrm>
          <a:prstGeom prst="line">
            <a:avLst/>
          </a:prstGeom>
          <a:ln w="28575">
            <a:solidFill>
              <a:srgbClr val="25336F"/>
            </a:solidFill>
            <a:prstDash val="sysDash"/>
          </a:ln>
        </p:spPr>
        <p:style>
          <a:lnRef idx="1">
            <a:schemeClr val="accent1"/>
          </a:lnRef>
          <a:fillRef idx="0">
            <a:schemeClr val="accent1"/>
          </a:fillRef>
          <a:effectRef idx="0">
            <a:schemeClr val="accent1"/>
          </a:effectRef>
          <a:fontRef idx="minor">
            <a:schemeClr val="tx1"/>
          </a:fontRef>
        </p:style>
      </p:cxnSp>
      <p:sp>
        <p:nvSpPr>
          <p:cNvPr id="7" name="Round Same Side Corner Rectangle 55">
            <a:extLst>
              <a:ext uri="{FF2B5EF4-FFF2-40B4-BE49-F238E27FC236}">
                <a16:creationId xmlns:a16="http://schemas.microsoft.com/office/drawing/2014/main" id="{B5BEADC1-725D-44C8-8F90-629DBD410AF0}"/>
              </a:ext>
            </a:extLst>
          </p:cNvPr>
          <p:cNvSpPr/>
          <p:nvPr/>
        </p:nvSpPr>
        <p:spPr>
          <a:xfrm>
            <a:off x="591844" y="4130923"/>
            <a:ext cx="5103269" cy="195401"/>
          </a:xfrm>
          <a:prstGeom prst="round2SameRect">
            <a:avLst>
              <a:gd name="adj1" fmla="val 47500"/>
              <a:gd name="adj2" fmla="val 0"/>
            </a:avLst>
          </a:prstGeom>
          <a:solidFill>
            <a:srgbClr val="51C3F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171450" rIns="68562" bIns="34281" numCol="1" spcCol="0" rtlCol="0" fromWordArt="0" anchor="ctr" anchorCtr="0" forceAA="0" compatLnSpc="1">
            <a:prstTxWarp prst="textNoShape">
              <a:avLst/>
            </a:prstTxWarp>
            <a:noAutofit/>
          </a:bodyPr>
          <a:lstStyle>
            <a:defPPr>
              <a:defRPr lang="en-US"/>
            </a:defPPr>
            <a:lvl1pPr marL="0" algn="l" defTabSz="1828068" rtl="0" eaLnBrk="1" latinLnBrk="0" hangingPunct="1">
              <a:defRPr sz="3599" kern="1200">
                <a:solidFill>
                  <a:schemeClr val="tx1"/>
                </a:solidFill>
                <a:latin typeface="+mn-lt"/>
                <a:ea typeface="+mn-ea"/>
                <a:cs typeface="+mn-cs"/>
              </a:defRPr>
            </a:lvl1pPr>
            <a:lvl2pPr marL="914035" algn="l" defTabSz="1828068" rtl="0" eaLnBrk="1" latinLnBrk="0" hangingPunct="1">
              <a:defRPr sz="3599" kern="1200">
                <a:solidFill>
                  <a:schemeClr val="tx1"/>
                </a:solidFill>
                <a:latin typeface="+mn-lt"/>
                <a:ea typeface="+mn-ea"/>
                <a:cs typeface="+mn-cs"/>
              </a:defRPr>
            </a:lvl2pPr>
            <a:lvl3pPr marL="1828068" algn="l" defTabSz="1828068" rtl="0" eaLnBrk="1" latinLnBrk="0" hangingPunct="1">
              <a:defRPr sz="3599" kern="1200">
                <a:solidFill>
                  <a:schemeClr val="tx1"/>
                </a:solidFill>
                <a:latin typeface="+mn-lt"/>
                <a:ea typeface="+mn-ea"/>
                <a:cs typeface="+mn-cs"/>
              </a:defRPr>
            </a:lvl3pPr>
            <a:lvl4pPr marL="2742103" algn="l" defTabSz="1828068" rtl="0" eaLnBrk="1" latinLnBrk="0" hangingPunct="1">
              <a:defRPr sz="3599" kern="1200">
                <a:solidFill>
                  <a:schemeClr val="tx1"/>
                </a:solidFill>
                <a:latin typeface="+mn-lt"/>
                <a:ea typeface="+mn-ea"/>
                <a:cs typeface="+mn-cs"/>
              </a:defRPr>
            </a:lvl4pPr>
            <a:lvl5pPr marL="3656137" algn="l" defTabSz="1828068" rtl="0" eaLnBrk="1" latinLnBrk="0" hangingPunct="1">
              <a:defRPr sz="3599" kern="1200">
                <a:solidFill>
                  <a:schemeClr val="tx1"/>
                </a:solidFill>
                <a:latin typeface="+mn-lt"/>
                <a:ea typeface="+mn-ea"/>
                <a:cs typeface="+mn-cs"/>
              </a:defRPr>
            </a:lvl5pPr>
            <a:lvl6pPr marL="4570172" algn="l" defTabSz="1828068" rtl="0" eaLnBrk="1" latinLnBrk="0" hangingPunct="1">
              <a:defRPr sz="3599" kern="1200">
                <a:solidFill>
                  <a:schemeClr val="tx1"/>
                </a:solidFill>
                <a:latin typeface="+mn-lt"/>
                <a:ea typeface="+mn-ea"/>
                <a:cs typeface="+mn-cs"/>
              </a:defRPr>
            </a:lvl6pPr>
            <a:lvl7pPr marL="5484207" algn="l" defTabSz="1828068" rtl="0" eaLnBrk="1" latinLnBrk="0" hangingPunct="1">
              <a:defRPr sz="3599" kern="1200">
                <a:solidFill>
                  <a:schemeClr val="tx1"/>
                </a:solidFill>
                <a:latin typeface="+mn-lt"/>
                <a:ea typeface="+mn-ea"/>
                <a:cs typeface="+mn-cs"/>
              </a:defRPr>
            </a:lvl7pPr>
            <a:lvl8pPr marL="6398240" algn="l" defTabSz="1828068" rtl="0" eaLnBrk="1" latinLnBrk="0" hangingPunct="1">
              <a:defRPr sz="3599" kern="1200">
                <a:solidFill>
                  <a:schemeClr val="tx1"/>
                </a:solidFill>
                <a:latin typeface="+mn-lt"/>
                <a:ea typeface="+mn-ea"/>
                <a:cs typeface="+mn-cs"/>
              </a:defRPr>
            </a:lvl8pPr>
            <a:lvl9pPr marL="7312275" algn="l" defTabSz="1828068" rtl="0" eaLnBrk="1" latinLnBrk="0" hangingPunct="1">
              <a:defRPr sz="3599" kern="1200">
                <a:solidFill>
                  <a:schemeClr val="tx1"/>
                </a:solidFill>
                <a:latin typeface="+mn-lt"/>
                <a:ea typeface="+mn-ea"/>
                <a:cs typeface="+mn-cs"/>
              </a:defRPr>
            </a:lvl9pPr>
          </a:lstStyle>
          <a:p>
            <a:pPr algn="l"/>
            <a:endParaRPr lang="en-IN" sz="1200" dirty="0">
              <a:cs typeface="Calibri Light" panose="020F0302020204030204" pitchFamily="34" charset="0"/>
              <a:sym typeface="Calibri Light" panose="020F0302020204030204" pitchFamily="34" charset="0"/>
            </a:endParaRPr>
          </a:p>
        </p:txBody>
      </p:sp>
      <p:sp>
        <p:nvSpPr>
          <p:cNvPr id="8" name="Round Same Side Corner Rectangle 56">
            <a:extLst>
              <a:ext uri="{FF2B5EF4-FFF2-40B4-BE49-F238E27FC236}">
                <a16:creationId xmlns:a16="http://schemas.microsoft.com/office/drawing/2014/main" id="{F3242C05-5C46-4CA7-8851-32D520D21F22}"/>
              </a:ext>
            </a:extLst>
          </p:cNvPr>
          <p:cNvSpPr/>
          <p:nvPr/>
        </p:nvSpPr>
        <p:spPr>
          <a:xfrm>
            <a:off x="6359920" y="4130923"/>
            <a:ext cx="5023440" cy="195401"/>
          </a:xfrm>
          <a:prstGeom prst="round2SameRect">
            <a:avLst>
              <a:gd name="adj1" fmla="val 47500"/>
              <a:gd name="adj2" fmla="val 0"/>
            </a:avLst>
          </a:prstGeom>
          <a:solidFill>
            <a:srgbClr val="2533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171450" rIns="68562" bIns="34281" numCol="1" spcCol="0" rtlCol="0" fromWordArt="0" anchor="ctr" anchorCtr="0" forceAA="0" compatLnSpc="1">
            <a:prstTxWarp prst="textNoShape">
              <a:avLst/>
            </a:prstTxWarp>
            <a:noAutofit/>
          </a:bodyPr>
          <a:lstStyle>
            <a:defPPr>
              <a:defRPr lang="en-US"/>
            </a:defPPr>
            <a:lvl1pPr marL="0" algn="l" defTabSz="1828068" rtl="0" eaLnBrk="1" latinLnBrk="0" hangingPunct="1">
              <a:defRPr sz="3599" kern="1200">
                <a:solidFill>
                  <a:schemeClr val="tx1"/>
                </a:solidFill>
                <a:latin typeface="+mn-lt"/>
                <a:ea typeface="+mn-ea"/>
                <a:cs typeface="+mn-cs"/>
              </a:defRPr>
            </a:lvl1pPr>
            <a:lvl2pPr marL="914035" algn="l" defTabSz="1828068" rtl="0" eaLnBrk="1" latinLnBrk="0" hangingPunct="1">
              <a:defRPr sz="3599" kern="1200">
                <a:solidFill>
                  <a:schemeClr val="tx1"/>
                </a:solidFill>
                <a:latin typeface="+mn-lt"/>
                <a:ea typeface="+mn-ea"/>
                <a:cs typeface="+mn-cs"/>
              </a:defRPr>
            </a:lvl2pPr>
            <a:lvl3pPr marL="1828068" algn="l" defTabSz="1828068" rtl="0" eaLnBrk="1" latinLnBrk="0" hangingPunct="1">
              <a:defRPr sz="3599" kern="1200">
                <a:solidFill>
                  <a:schemeClr val="tx1"/>
                </a:solidFill>
                <a:latin typeface="+mn-lt"/>
                <a:ea typeface="+mn-ea"/>
                <a:cs typeface="+mn-cs"/>
              </a:defRPr>
            </a:lvl3pPr>
            <a:lvl4pPr marL="2742103" algn="l" defTabSz="1828068" rtl="0" eaLnBrk="1" latinLnBrk="0" hangingPunct="1">
              <a:defRPr sz="3599" kern="1200">
                <a:solidFill>
                  <a:schemeClr val="tx1"/>
                </a:solidFill>
                <a:latin typeface="+mn-lt"/>
                <a:ea typeface="+mn-ea"/>
                <a:cs typeface="+mn-cs"/>
              </a:defRPr>
            </a:lvl4pPr>
            <a:lvl5pPr marL="3656137" algn="l" defTabSz="1828068" rtl="0" eaLnBrk="1" latinLnBrk="0" hangingPunct="1">
              <a:defRPr sz="3599" kern="1200">
                <a:solidFill>
                  <a:schemeClr val="tx1"/>
                </a:solidFill>
                <a:latin typeface="+mn-lt"/>
                <a:ea typeface="+mn-ea"/>
                <a:cs typeface="+mn-cs"/>
              </a:defRPr>
            </a:lvl5pPr>
            <a:lvl6pPr marL="4570172" algn="l" defTabSz="1828068" rtl="0" eaLnBrk="1" latinLnBrk="0" hangingPunct="1">
              <a:defRPr sz="3599" kern="1200">
                <a:solidFill>
                  <a:schemeClr val="tx1"/>
                </a:solidFill>
                <a:latin typeface="+mn-lt"/>
                <a:ea typeface="+mn-ea"/>
                <a:cs typeface="+mn-cs"/>
              </a:defRPr>
            </a:lvl6pPr>
            <a:lvl7pPr marL="5484207" algn="l" defTabSz="1828068" rtl="0" eaLnBrk="1" latinLnBrk="0" hangingPunct="1">
              <a:defRPr sz="3599" kern="1200">
                <a:solidFill>
                  <a:schemeClr val="tx1"/>
                </a:solidFill>
                <a:latin typeface="+mn-lt"/>
                <a:ea typeface="+mn-ea"/>
                <a:cs typeface="+mn-cs"/>
              </a:defRPr>
            </a:lvl7pPr>
            <a:lvl8pPr marL="6398240" algn="l" defTabSz="1828068" rtl="0" eaLnBrk="1" latinLnBrk="0" hangingPunct="1">
              <a:defRPr sz="3599" kern="1200">
                <a:solidFill>
                  <a:schemeClr val="tx1"/>
                </a:solidFill>
                <a:latin typeface="+mn-lt"/>
                <a:ea typeface="+mn-ea"/>
                <a:cs typeface="+mn-cs"/>
              </a:defRPr>
            </a:lvl8pPr>
            <a:lvl9pPr marL="7312275" algn="l" defTabSz="1828068" rtl="0" eaLnBrk="1" latinLnBrk="0" hangingPunct="1">
              <a:defRPr sz="3599" kern="1200">
                <a:solidFill>
                  <a:schemeClr val="tx1"/>
                </a:solidFill>
                <a:latin typeface="+mn-lt"/>
                <a:ea typeface="+mn-ea"/>
                <a:cs typeface="+mn-cs"/>
              </a:defRPr>
            </a:lvl9pPr>
          </a:lstStyle>
          <a:p>
            <a:pPr algn="l"/>
            <a:endParaRPr lang="en-IN" sz="1200" dirty="0">
              <a:cs typeface="Calibri Light" panose="020F0302020204030204" pitchFamily="34" charset="0"/>
              <a:sym typeface="Calibri Light" panose="020F0302020204030204" pitchFamily="34" charset="0"/>
            </a:endParaRPr>
          </a:p>
        </p:txBody>
      </p:sp>
      <p:sp>
        <p:nvSpPr>
          <p:cNvPr id="9" name="TextBox 8">
            <a:extLst>
              <a:ext uri="{FF2B5EF4-FFF2-40B4-BE49-F238E27FC236}">
                <a16:creationId xmlns:a16="http://schemas.microsoft.com/office/drawing/2014/main" id="{89182E85-2035-4023-8E22-D12F5AD0538D}"/>
              </a:ext>
            </a:extLst>
          </p:cNvPr>
          <p:cNvSpPr txBox="1"/>
          <p:nvPr/>
        </p:nvSpPr>
        <p:spPr>
          <a:xfrm>
            <a:off x="591844" y="4326325"/>
            <a:ext cx="5103269" cy="1556010"/>
          </a:xfrm>
          <a:prstGeom prst="rect">
            <a:avLst/>
          </a:prstGeom>
          <a:solidFill>
            <a:schemeClr val="bg1"/>
          </a:solidFill>
        </p:spPr>
        <p:txBody>
          <a:bodyPr wrap="square" tIns="171450" rtlCol="0" anchor="ctr">
            <a:noAutofit/>
          </a:bodyPr>
          <a:lstStyle>
            <a:defPPr>
              <a:defRPr lang="en-US"/>
            </a:defPPr>
            <a:lvl1pPr marL="0" algn="l" defTabSz="1828068" rtl="0" eaLnBrk="1" latinLnBrk="0" hangingPunct="1">
              <a:defRPr sz="3599" kern="1200">
                <a:solidFill>
                  <a:schemeClr val="tx1"/>
                </a:solidFill>
                <a:latin typeface="+mn-lt"/>
                <a:ea typeface="+mn-ea"/>
                <a:cs typeface="+mn-cs"/>
              </a:defRPr>
            </a:lvl1pPr>
            <a:lvl2pPr marL="914035" algn="l" defTabSz="1828068" rtl="0" eaLnBrk="1" latinLnBrk="0" hangingPunct="1">
              <a:defRPr sz="3599" kern="1200">
                <a:solidFill>
                  <a:schemeClr val="tx1"/>
                </a:solidFill>
                <a:latin typeface="+mn-lt"/>
                <a:ea typeface="+mn-ea"/>
                <a:cs typeface="+mn-cs"/>
              </a:defRPr>
            </a:lvl2pPr>
            <a:lvl3pPr marL="1828068" algn="l" defTabSz="1828068" rtl="0" eaLnBrk="1" latinLnBrk="0" hangingPunct="1">
              <a:defRPr sz="3599" kern="1200">
                <a:solidFill>
                  <a:schemeClr val="tx1"/>
                </a:solidFill>
                <a:latin typeface="+mn-lt"/>
                <a:ea typeface="+mn-ea"/>
                <a:cs typeface="+mn-cs"/>
              </a:defRPr>
            </a:lvl3pPr>
            <a:lvl4pPr marL="2742103" algn="l" defTabSz="1828068" rtl="0" eaLnBrk="1" latinLnBrk="0" hangingPunct="1">
              <a:defRPr sz="3599" kern="1200">
                <a:solidFill>
                  <a:schemeClr val="tx1"/>
                </a:solidFill>
                <a:latin typeface="+mn-lt"/>
                <a:ea typeface="+mn-ea"/>
                <a:cs typeface="+mn-cs"/>
              </a:defRPr>
            </a:lvl4pPr>
            <a:lvl5pPr marL="3656137" algn="l" defTabSz="1828068" rtl="0" eaLnBrk="1" latinLnBrk="0" hangingPunct="1">
              <a:defRPr sz="3599" kern="1200">
                <a:solidFill>
                  <a:schemeClr val="tx1"/>
                </a:solidFill>
                <a:latin typeface="+mn-lt"/>
                <a:ea typeface="+mn-ea"/>
                <a:cs typeface="+mn-cs"/>
              </a:defRPr>
            </a:lvl5pPr>
            <a:lvl6pPr marL="4570172" algn="l" defTabSz="1828068" rtl="0" eaLnBrk="1" latinLnBrk="0" hangingPunct="1">
              <a:defRPr sz="3599" kern="1200">
                <a:solidFill>
                  <a:schemeClr val="tx1"/>
                </a:solidFill>
                <a:latin typeface="+mn-lt"/>
                <a:ea typeface="+mn-ea"/>
                <a:cs typeface="+mn-cs"/>
              </a:defRPr>
            </a:lvl6pPr>
            <a:lvl7pPr marL="5484207" algn="l" defTabSz="1828068" rtl="0" eaLnBrk="1" latinLnBrk="0" hangingPunct="1">
              <a:defRPr sz="3599" kern="1200">
                <a:solidFill>
                  <a:schemeClr val="tx1"/>
                </a:solidFill>
                <a:latin typeface="+mn-lt"/>
                <a:ea typeface="+mn-ea"/>
                <a:cs typeface="+mn-cs"/>
              </a:defRPr>
            </a:lvl7pPr>
            <a:lvl8pPr marL="6398240" algn="l" defTabSz="1828068" rtl="0" eaLnBrk="1" latinLnBrk="0" hangingPunct="1">
              <a:defRPr sz="3599" kern="1200">
                <a:solidFill>
                  <a:schemeClr val="tx1"/>
                </a:solidFill>
                <a:latin typeface="+mn-lt"/>
                <a:ea typeface="+mn-ea"/>
                <a:cs typeface="+mn-cs"/>
              </a:defRPr>
            </a:lvl8pPr>
            <a:lvl9pPr marL="7312275" algn="l" defTabSz="1828068" rtl="0" eaLnBrk="1" latinLnBrk="0" hangingPunct="1">
              <a:defRPr sz="3599" kern="1200">
                <a:solidFill>
                  <a:schemeClr val="tx1"/>
                </a:solidFill>
                <a:latin typeface="+mn-lt"/>
                <a:ea typeface="+mn-ea"/>
                <a:cs typeface="+mn-cs"/>
              </a:defRPr>
            </a:lvl9pPr>
          </a:lstStyle>
          <a:p>
            <a:pPr algn="ctr" defTabSz="914400" eaLnBrk="0" fontAlgn="base" hangingPunct="0">
              <a:spcBef>
                <a:spcPct val="50000"/>
              </a:spcBef>
              <a:spcAft>
                <a:spcPts val="600"/>
              </a:spcAft>
              <a:buClr>
                <a:schemeClr val="accent2"/>
              </a:buClr>
              <a:defRPr/>
            </a:pPr>
            <a:r>
              <a:rPr lang="en-US" sz="1600" kern="0" dirty="0">
                <a:solidFill>
                  <a:srgbClr val="000000"/>
                </a:solidFill>
              </a:rPr>
              <a:t>Largest alternate</a:t>
            </a:r>
            <a:r>
              <a:rPr lang="en-US" sz="1600" b="1" kern="0" dirty="0">
                <a:solidFill>
                  <a:srgbClr val="000000"/>
                </a:solidFill>
              </a:rPr>
              <a:t> credit score and data enrichment solution i</a:t>
            </a:r>
            <a:r>
              <a:rPr lang="en-US" sz="1600" kern="0" dirty="0">
                <a:solidFill>
                  <a:srgbClr val="000000"/>
                </a:solidFill>
              </a:rPr>
              <a:t>n India with 40 mn+ scores, 10,000+ features per customer leveraging alternate data</a:t>
            </a:r>
          </a:p>
        </p:txBody>
      </p:sp>
      <p:sp>
        <p:nvSpPr>
          <p:cNvPr id="10" name="TextBox 9">
            <a:extLst>
              <a:ext uri="{FF2B5EF4-FFF2-40B4-BE49-F238E27FC236}">
                <a16:creationId xmlns:a16="http://schemas.microsoft.com/office/drawing/2014/main" id="{DBF735A1-4DCA-49B4-9971-C81CC51B5276}"/>
              </a:ext>
            </a:extLst>
          </p:cNvPr>
          <p:cNvSpPr txBox="1"/>
          <p:nvPr/>
        </p:nvSpPr>
        <p:spPr>
          <a:xfrm>
            <a:off x="6359920" y="4328552"/>
            <a:ext cx="5023440" cy="1553746"/>
          </a:xfrm>
          <a:prstGeom prst="rect">
            <a:avLst/>
          </a:prstGeom>
          <a:solidFill>
            <a:schemeClr val="bg1"/>
          </a:solidFill>
        </p:spPr>
        <p:txBody>
          <a:bodyPr wrap="square" tIns="171450" rtlCol="0" anchor="t">
            <a:noAutofit/>
          </a:bodyPr>
          <a:lstStyle>
            <a:defPPr>
              <a:defRPr lang="en-US"/>
            </a:defPPr>
            <a:lvl1pPr marL="0" algn="l" defTabSz="1828068" rtl="0" eaLnBrk="1" latinLnBrk="0" hangingPunct="1">
              <a:defRPr sz="3599" kern="1200">
                <a:solidFill>
                  <a:schemeClr val="tx1"/>
                </a:solidFill>
                <a:latin typeface="+mn-lt"/>
                <a:ea typeface="+mn-ea"/>
                <a:cs typeface="+mn-cs"/>
              </a:defRPr>
            </a:lvl1pPr>
            <a:lvl2pPr marL="914035" algn="l" defTabSz="1828068" rtl="0" eaLnBrk="1" latinLnBrk="0" hangingPunct="1">
              <a:defRPr sz="3599" kern="1200">
                <a:solidFill>
                  <a:schemeClr val="tx1"/>
                </a:solidFill>
                <a:latin typeface="+mn-lt"/>
                <a:ea typeface="+mn-ea"/>
                <a:cs typeface="+mn-cs"/>
              </a:defRPr>
            </a:lvl2pPr>
            <a:lvl3pPr marL="1828068" algn="l" defTabSz="1828068" rtl="0" eaLnBrk="1" latinLnBrk="0" hangingPunct="1">
              <a:defRPr sz="3599" kern="1200">
                <a:solidFill>
                  <a:schemeClr val="tx1"/>
                </a:solidFill>
                <a:latin typeface="+mn-lt"/>
                <a:ea typeface="+mn-ea"/>
                <a:cs typeface="+mn-cs"/>
              </a:defRPr>
            </a:lvl3pPr>
            <a:lvl4pPr marL="2742103" algn="l" defTabSz="1828068" rtl="0" eaLnBrk="1" latinLnBrk="0" hangingPunct="1">
              <a:defRPr sz="3599" kern="1200">
                <a:solidFill>
                  <a:schemeClr val="tx1"/>
                </a:solidFill>
                <a:latin typeface="+mn-lt"/>
                <a:ea typeface="+mn-ea"/>
                <a:cs typeface="+mn-cs"/>
              </a:defRPr>
            </a:lvl4pPr>
            <a:lvl5pPr marL="3656137" algn="l" defTabSz="1828068" rtl="0" eaLnBrk="1" latinLnBrk="0" hangingPunct="1">
              <a:defRPr sz="3599" kern="1200">
                <a:solidFill>
                  <a:schemeClr val="tx1"/>
                </a:solidFill>
                <a:latin typeface="+mn-lt"/>
                <a:ea typeface="+mn-ea"/>
                <a:cs typeface="+mn-cs"/>
              </a:defRPr>
            </a:lvl5pPr>
            <a:lvl6pPr marL="4570172" algn="l" defTabSz="1828068" rtl="0" eaLnBrk="1" latinLnBrk="0" hangingPunct="1">
              <a:defRPr sz="3599" kern="1200">
                <a:solidFill>
                  <a:schemeClr val="tx1"/>
                </a:solidFill>
                <a:latin typeface="+mn-lt"/>
                <a:ea typeface="+mn-ea"/>
                <a:cs typeface="+mn-cs"/>
              </a:defRPr>
            </a:lvl6pPr>
            <a:lvl7pPr marL="5484207" algn="l" defTabSz="1828068" rtl="0" eaLnBrk="1" latinLnBrk="0" hangingPunct="1">
              <a:defRPr sz="3599" kern="1200">
                <a:solidFill>
                  <a:schemeClr val="tx1"/>
                </a:solidFill>
                <a:latin typeface="+mn-lt"/>
                <a:ea typeface="+mn-ea"/>
                <a:cs typeface="+mn-cs"/>
              </a:defRPr>
            </a:lvl7pPr>
            <a:lvl8pPr marL="6398240" algn="l" defTabSz="1828068" rtl="0" eaLnBrk="1" latinLnBrk="0" hangingPunct="1">
              <a:defRPr sz="3599" kern="1200">
                <a:solidFill>
                  <a:schemeClr val="tx1"/>
                </a:solidFill>
                <a:latin typeface="+mn-lt"/>
                <a:ea typeface="+mn-ea"/>
                <a:cs typeface="+mn-cs"/>
              </a:defRPr>
            </a:lvl8pPr>
            <a:lvl9pPr marL="7312275" algn="l" defTabSz="1828068" rtl="0" eaLnBrk="1" latinLnBrk="0" hangingPunct="1">
              <a:defRPr sz="3599" kern="1200">
                <a:solidFill>
                  <a:schemeClr val="tx1"/>
                </a:solidFill>
                <a:latin typeface="+mn-lt"/>
                <a:ea typeface="+mn-ea"/>
                <a:cs typeface="+mn-cs"/>
              </a:defRPr>
            </a:lvl9pPr>
          </a:lstStyle>
          <a:p>
            <a:pPr algn="ctr" defTabSz="914400" eaLnBrk="0" fontAlgn="base" hangingPunct="0">
              <a:spcBef>
                <a:spcPct val="50000"/>
              </a:spcBef>
              <a:spcAft>
                <a:spcPts val="600"/>
              </a:spcAft>
              <a:buClr>
                <a:schemeClr val="accent2"/>
              </a:buClr>
              <a:defRPr/>
            </a:pPr>
            <a:r>
              <a:rPr lang="en-US" sz="1600" kern="0" dirty="0">
                <a:solidFill>
                  <a:srgbClr val="000000"/>
                </a:solidFill>
              </a:rPr>
              <a:t>Cutting-edge </a:t>
            </a:r>
            <a:r>
              <a:rPr lang="en-US" sz="1600" b="1" kern="0" dirty="0">
                <a:solidFill>
                  <a:srgbClr val="000000"/>
                </a:solidFill>
              </a:rPr>
              <a:t>video engagement product for customer onboarding and assisted activities, e.g.,  agent-assisted conversations, identity check</a:t>
            </a:r>
            <a:r>
              <a:rPr lang="en-US" sz="1600" kern="0" dirty="0">
                <a:solidFill>
                  <a:srgbClr val="000000"/>
                </a:solidFill>
              </a:rPr>
              <a:t> (KYC), (+identity risk management, facial recognition, OCR personalization)</a:t>
            </a:r>
          </a:p>
        </p:txBody>
      </p:sp>
      <p:sp>
        <p:nvSpPr>
          <p:cNvPr id="11" name="Round Same Side Corner Rectangle 6">
            <a:extLst>
              <a:ext uri="{FF2B5EF4-FFF2-40B4-BE49-F238E27FC236}">
                <a16:creationId xmlns:a16="http://schemas.microsoft.com/office/drawing/2014/main" id="{19211170-BBC0-4C2C-BD43-EFF571D1A01B}"/>
              </a:ext>
            </a:extLst>
          </p:cNvPr>
          <p:cNvSpPr/>
          <p:nvPr/>
        </p:nvSpPr>
        <p:spPr>
          <a:xfrm rot="10800000">
            <a:off x="591849" y="5882298"/>
            <a:ext cx="5101977" cy="56466"/>
          </a:xfrm>
          <a:prstGeom prst="rect">
            <a:avLst/>
          </a:prstGeom>
          <a:solidFill>
            <a:srgbClr val="51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cs typeface="Calibri Light" panose="020F0302020204030204" pitchFamily="34" charset="0"/>
              <a:sym typeface="Calibri Light" panose="020F0302020204030204" pitchFamily="34" charset="0"/>
            </a:endParaRPr>
          </a:p>
        </p:txBody>
      </p:sp>
      <p:sp>
        <p:nvSpPr>
          <p:cNvPr id="12" name="Round Same Side Corner Rectangle 72">
            <a:extLst>
              <a:ext uri="{FF2B5EF4-FFF2-40B4-BE49-F238E27FC236}">
                <a16:creationId xmlns:a16="http://schemas.microsoft.com/office/drawing/2014/main" id="{56224E3C-9431-4577-AAAD-00FCCC87FBE2}"/>
              </a:ext>
            </a:extLst>
          </p:cNvPr>
          <p:cNvSpPr/>
          <p:nvPr/>
        </p:nvSpPr>
        <p:spPr>
          <a:xfrm rot="10800000">
            <a:off x="6361245" y="5882298"/>
            <a:ext cx="5078220" cy="56466"/>
          </a:xfrm>
          <a:prstGeom prst="rect">
            <a:avLst/>
          </a:prstGeom>
          <a:solidFill>
            <a:srgbClr val="253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cs typeface="Calibri Light" panose="020F0302020204030204" pitchFamily="34" charset="0"/>
              <a:sym typeface="Calibri Light" panose="020F0302020204030204" pitchFamily="34" charset="0"/>
            </a:endParaRPr>
          </a:p>
        </p:txBody>
      </p:sp>
      <p:sp>
        <p:nvSpPr>
          <p:cNvPr id="13" name="Rectangle 12">
            <a:extLst>
              <a:ext uri="{FF2B5EF4-FFF2-40B4-BE49-F238E27FC236}">
                <a16:creationId xmlns:a16="http://schemas.microsoft.com/office/drawing/2014/main" id="{1A7A70F6-0096-4005-8B3F-80DDC95C802F}"/>
              </a:ext>
            </a:extLst>
          </p:cNvPr>
          <p:cNvSpPr/>
          <p:nvPr/>
        </p:nvSpPr>
        <p:spPr>
          <a:xfrm>
            <a:off x="1891873" y="1974878"/>
            <a:ext cx="2586865" cy="1801267"/>
          </a:xfrm>
          <a:prstGeom prst="rect">
            <a:avLst/>
          </a:prstGeom>
          <a:solidFill>
            <a:srgbClr val="FFFFFF"/>
          </a:solidFill>
          <a:ln w="149225" cap="rnd">
            <a:solidFill>
              <a:srgbClr val="51C3F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 </a:t>
            </a:r>
          </a:p>
        </p:txBody>
      </p:sp>
      <p:sp>
        <p:nvSpPr>
          <p:cNvPr id="47" name="Rectangle 46">
            <a:extLst>
              <a:ext uri="{FF2B5EF4-FFF2-40B4-BE49-F238E27FC236}">
                <a16:creationId xmlns:a16="http://schemas.microsoft.com/office/drawing/2014/main" id="{80A249B3-306E-4E61-8A48-4A9AEE290C2C}"/>
              </a:ext>
            </a:extLst>
          </p:cNvPr>
          <p:cNvSpPr/>
          <p:nvPr/>
        </p:nvSpPr>
        <p:spPr>
          <a:xfrm>
            <a:off x="7647671" y="1974878"/>
            <a:ext cx="2586865" cy="1801267"/>
          </a:xfrm>
          <a:prstGeom prst="rect">
            <a:avLst/>
          </a:prstGeom>
          <a:solidFill>
            <a:srgbClr val="FFFFFF"/>
          </a:solidFill>
          <a:ln w="149225" cap="rnd">
            <a:solidFill>
              <a:srgbClr val="25336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 </a:t>
            </a:r>
          </a:p>
        </p:txBody>
      </p:sp>
      <p:pic>
        <p:nvPicPr>
          <p:cNvPr id="49" name="Picture 2" descr="KwikID">
            <a:extLst>
              <a:ext uri="{FF2B5EF4-FFF2-40B4-BE49-F238E27FC236}">
                <a16:creationId xmlns:a16="http://schemas.microsoft.com/office/drawing/2014/main" id="{C817BCF8-8369-436D-9050-CEF6FEACA99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17352" y="2243395"/>
            <a:ext cx="1290596" cy="13335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50" name="Round Same Side Corner Rectangle 4">
            <a:extLst>
              <a:ext uri="{FF2B5EF4-FFF2-40B4-BE49-F238E27FC236}">
                <a16:creationId xmlns:a16="http://schemas.microsoft.com/office/drawing/2014/main" id="{50CD774F-CF92-4978-82BA-8477421E6451}"/>
              </a:ext>
            </a:extLst>
          </p:cNvPr>
          <p:cNvSpPr/>
          <p:nvPr/>
        </p:nvSpPr>
        <p:spPr>
          <a:xfrm>
            <a:off x="591844" y="1175215"/>
            <a:ext cx="5106334" cy="510387"/>
          </a:xfrm>
          <a:prstGeom prst="round2SameRect">
            <a:avLst>
              <a:gd name="adj1" fmla="val 17634"/>
              <a:gd name="adj2" fmla="val 0"/>
            </a:avLst>
          </a:prstGeom>
          <a:solidFill>
            <a:srgbClr val="D90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ALGO360</a:t>
            </a:r>
          </a:p>
        </p:txBody>
      </p:sp>
      <p:sp>
        <p:nvSpPr>
          <p:cNvPr id="51" name="Round Same Side Corner Rectangle 57">
            <a:extLst>
              <a:ext uri="{FF2B5EF4-FFF2-40B4-BE49-F238E27FC236}">
                <a16:creationId xmlns:a16="http://schemas.microsoft.com/office/drawing/2014/main" id="{DA608F39-5D44-4D18-A394-A39327F4C7B9}"/>
              </a:ext>
            </a:extLst>
          </p:cNvPr>
          <p:cNvSpPr/>
          <p:nvPr/>
        </p:nvSpPr>
        <p:spPr>
          <a:xfrm>
            <a:off x="6359630" y="1175215"/>
            <a:ext cx="5023717" cy="510387"/>
          </a:xfrm>
          <a:prstGeom prst="round2SameRect">
            <a:avLst>
              <a:gd name="adj1" fmla="val 17634"/>
              <a:gd name="adj2" fmla="val 0"/>
            </a:avLst>
          </a:prstGeom>
          <a:solidFill>
            <a:srgbClr val="D90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Kwik</a:t>
            </a:r>
          </a:p>
        </p:txBody>
      </p:sp>
      <p:pic>
        <p:nvPicPr>
          <p:cNvPr id="15" name="Content Placeholder 14">
            <a:extLst>
              <a:ext uri="{FF2B5EF4-FFF2-40B4-BE49-F238E27FC236}">
                <a16:creationId xmlns:a16="http://schemas.microsoft.com/office/drawing/2014/main" id="{1D1E3659-5D70-4F6B-9919-EFC2FD902A1F}"/>
              </a:ext>
            </a:extLst>
          </p:cNvPr>
          <p:cNvPicPr>
            <a:picLocks noGrp="1" noChangeAspect="1"/>
          </p:cNvPicPr>
          <p:nvPr>
            <p:ph sz="quarter" idx="14"/>
          </p:nvPr>
        </p:nvPicPr>
        <p:blipFill>
          <a:blip r:embed="rId3"/>
          <a:stretch>
            <a:fillRect/>
          </a:stretch>
        </p:blipFill>
        <p:spPr>
          <a:xfrm>
            <a:off x="2082957" y="2312315"/>
            <a:ext cx="2215712" cy="1040621"/>
          </a:xfrm>
        </p:spPr>
      </p:pic>
    </p:spTree>
    <p:extLst>
      <p:ext uri="{BB962C8B-B14F-4D97-AF65-F5344CB8AC3E}">
        <p14:creationId xmlns:p14="http://schemas.microsoft.com/office/powerpoint/2010/main" val="1665123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UHl4mj1InnllqEAxFd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heme/theme1.xml><?xml version="1.0" encoding="utf-8"?>
<a:theme xmlns:a="http://schemas.openxmlformats.org/drawingml/2006/main" name="Think360_2021">
  <a:themeElements>
    <a:clrScheme name="Think360_2021">
      <a:dk1>
        <a:srgbClr val="000000"/>
      </a:dk1>
      <a:lt1>
        <a:srgbClr val="F8F8F8"/>
      </a:lt1>
      <a:dk2>
        <a:srgbClr val="002D72"/>
      </a:dk2>
      <a:lt2>
        <a:srgbClr val="9FEFFF"/>
      </a:lt2>
      <a:accent1>
        <a:srgbClr val="002D72"/>
      </a:accent1>
      <a:accent2>
        <a:srgbClr val="00BCE3"/>
      </a:accent2>
      <a:accent3>
        <a:srgbClr val="E9004B"/>
      </a:accent3>
      <a:accent4>
        <a:srgbClr val="9FEFFF"/>
      </a:accent4>
      <a:accent5>
        <a:srgbClr val="5AA2AE"/>
      </a:accent5>
      <a:accent6>
        <a:srgbClr val="9D90A0"/>
      </a:accent6>
      <a:hlink>
        <a:srgbClr val="3CB4C3"/>
      </a:hlink>
      <a:folHlink>
        <a:srgbClr val="4292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AE7E6"/>
        </a:solidFill>
      </a:spPr>
      <a:bodyPr rtlCol="0" anchor="ctr">
        <a:noAutofit/>
      </a:bodyPr>
      <a:lstStyle>
        <a:defPPr marL="173038" indent="-173038" algn="l" defTabSz="457200">
          <a:spcBef>
            <a:spcPts val="1200"/>
          </a:spcBef>
          <a:buFont typeface="Arial"/>
          <a:buChar char="•"/>
          <a:defRPr sz="1600" dirty="0">
            <a:solidFill>
              <a:srgbClr val="333333"/>
            </a:solidFill>
          </a:defRPr>
        </a:defPPr>
      </a:lst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ctr">
        <a:noAutofit/>
      </a:bodyPr>
      <a:lstStyle>
        <a:defPPr marL="173038" indent="-173038" algn="l" defTabSz="457200">
          <a:spcBef>
            <a:spcPts val="1200"/>
          </a:spcBef>
          <a:buFont typeface="Arial"/>
          <a:buChar char="•"/>
          <a:defRPr sz="1600" dirty="0" err="1" smtClean="0">
            <a:solidFill>
              <a:srgbClr val="333333"/>
            </a:solidFill>
          </a:defRPr>
        </a:defPPr>
      </a:lstStyle>
    </a:txDef>
  </a:objectDefaults>
  <a:extraClrSchemeLst/>
  <a:extLst>
    <a:ext uri="{05A4C25C-085E-4340-85A3-A5531E510DB2}">
      <thm15:themeFamily xmlns:thm15="http://schemas.microsoft.com/office/thememl/2012/main" name="Think360_template_2021" id="{A4B1CB33-1C14-4EE1-93B5-159310F844BC}" vid="{650EB6CD-E4C1-4383-95F7-D1FED4EF5B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hink360_2021">
    <a:dk1>
      <a:srgbClr val="000000"/>
    </a:dk1>
    <a:lt1>
      <a:srgbClr val="F8F8F8"/>
    </a:lt1>
    <a:dk2>
      <a:srgbClr val="002D72"/>
    </a:dk2>
    <a:lt2>
      <a:srgbClr val="9FEFFF"/>
    </a:lt2>
    <a:accent1>
      <a:srgbClr val="002D72"/>
    </a:accent1>
    <a:accent2>
      <a:srgbClr val="00BCE3"/>
    </a:accent2>
    <a:accent3>
      <a:srgbClr val="E9004B"/>
    </a:accent3>
    <a:accent4>
      <a:srgbClr val="9FEFFF"/>
    </a:accent4>
    <a:accent5>
      <a:srgbClr val="5AA2AE"/>
    </a:accent5>
    <a:accent6>
      <a:srgbClr val="9D90A0"/>
    </a:accent6>
    <a:hlink>
      <a:srgbClr val="3CB4C3"/>
    </a:hlink>
    <a:folHlink>
      <a:srgbClr val="42929D"/>
    </a:folHlink>
  </a:clrScheme>
</a:themeOverride>
</file>

<file path=docProps/app.xml><?xml version="1.0" encoding="utf-8"?>
<Properties xmlns="http://schemas.openxmlformats.org/officeDocument/2006/extended-properties" xmlns:vt="http://schemas.openxmlformats.org/officeDocument/2006/docPropsVTypes">
  <Template/>
  <TotalTime>1054</TotalTime>
  <Words>675</Words>
  <Application>Microsoft Office PowerPoint</Application>
  <PresentationFormat>Widescreen</PresentationFormat>
  <Paragraphs>152</Paragraphs>
  <Slides>14</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ourier New</vt:lpstr>
      <vt:lpstr>Helvetica Neue</vt:lpstr>
      <vt:lpstr>Noto Sans Symbols</vt:lpstr>
      <vt:lpstr>Segoe UI</vt:lpstr>
      <vt:lpstr>Wingdings</vt:lpstr>
      <vt:lpstr>Think360_2021</vt:lpstr>
      <vt:lpstr>think-cell Slide</vt:lpstr>
      <vt:lpstr>PowerPoint Presentation</vt:lpstr>
      <vt:lpstr>PowerPoint Presentation</vt:lpstr>
      <vt:lpstr>PowerPoint Presentation</vt:lpstr>
      <vt:lpstr>Our core values</vt:lpstr>
      <vt:lpstr>We work across AI lifecycle </vt:lpstr>
      <vt:lpstr>We work with marque clients across financial services and other industries</vt:lpstr>
      <vt:lpstr>Our leadership team is made of industry veterans</vt:lpstr>
      <vt:lpstr>Our services team solves complicated business problems through technology and analytics </vt:lpstr>
      <vt:lpstr>Our products are focused on reducing friction for lenders</vt:lpstr>
      <vt:lpstr>Why Work with Us? </vt:lpstr>
      <vt:lpstr>Team members we are looking for </vt:lpstr>
      <vt:lpstr>Our Interview Process</vt:lpstr>
      <vt:lpstr>Salary &amp; Benefi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ryadip Ghoshal</dc:creator>
  <cp:lastModifiedBy>Think 360</cp:lastModifiedBy>
  <cp:revision>144</cp:revision>
  <dcterms:created xsi:type="dcterms:W3CDTF">2021-04-25T14:34:43Z</dcterms:created>
  <dcterms:modified xsi:type="dcterms:W3CDTF">2021-06-02T05:31:40Z</dcterms:modified>
</cp:coreProperties>
</file>